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</p:sldMasterIdLst>
  <p:notesMasterIdLst>
    <p:notesMasterId r:id="rId12"/>
  </p:notesMasterIdLst>
  <p:handoutMasterIdLst>
    <p:handoutMasterId r:id="rId13"/>
  </p:handoutMasterIdLst>
  <p:sldIdLst>
    <p:sldId id="299" r:id="rId6"/>
    <p:sldId id="259" r:id="rId7"/>
    <p:sldId id="339" r:id="rId8"/>
    <p:sldId id="2142533965" r:id="rId9"/>
    <p:sldId id="2142533966" r:id="rId10"/>
    <p:sldId id="288" r:id="rId11"/>
  </p:sldIdLst>
  <p:sldSz cx="9906000" cy="6858000" type="A4"/>
  <p:notesSz cx="6797675" cy="9926638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32" userDrawn="1">
          <p15:clr>
            <a:srgbClr val="A4A3A4"/>
          </p15:clr>
        </p15:guide>
        <p15:guide id="2" orient="horz" pos="4247" userDrawn="1">
          <p15:clr>
            <a:srgbClr val="A4A3A4"/>
          </p15:clr>
        </p15:guide>
        <p15:guide id="3" orient="horz" pos="346" userDrawn="1">
          <p15:clr>
            <a:srgbClr val="A4A3A4"/>
          </p15:clr>
        </p15:guide>
        <p15:guide id="4" orient="horz" pos="3838" userDrawn="1">
          <p15:clr>
            <a:srgbClr val="A4A3A4"/>
          </p15:clr>
        </p15:guide>
        <p15:guide id="5" orient="horz" pos="1820" userDrawn="1">
          <p15:clr>
            <a:srgbClr val="A4A3A4"/>
          </p15:clr>
        </p15:guide>
        <p15:guide id="6" pos="3211" userDrawn="1">
          <p15:clr>
            <a:srgbClr val="A4A3A4"/>
          </p15:clr>
        </p15:guide>
        <p15:guide id="7" pos="5207" userDrawn="1">
          <p15:clr>
            <a:srgbClr val="A4A3A4"/>
          </p15:clr>
        </p15:guide>
        <p15:guide id="8" pos="121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DE5C215-FD56-B6E2-8013-429AEC589011}" name="Isabelle LEBO" initials="IL" userId="S::MA4349@bpifrance.fr::f1c985e3-394e-48e8-9a67-d1528b48b78a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ine REINHARDT" initials="MR" lastIdx="2" clrIdx="0">
    <p:extLst>
      <p:ext uri="{19B8F6BF-5375-455C-9EA6-DF929625EA0E}">
        <p15:presenceInfo xmlns:p15="http://schemas.microsoft.com/office/powerpoint/2012/main" userId="S-1-5-21-1108609060-88361937-654838779-141159" providerId="AD"/>
      </p:ext>
    </p:extLst>
  </p:cmAuthor>
  <p:cmAuthor id="2" name="Arthur GAUTIER" initials="AG" lastIdx="6" clrIdx="1">
    <p:extLst>
      <p:ext uri="{19B8F6BF-5375-455C-9EA6-DF929625EA0E}">
        <p15:presenceInfo xmlns:p15="http://schemas.microsoft.com/office/powerpoint/2012/main" userId="S-1-5-21-1108609060-88361937-654838779-145811" providerId="AD"/>
      </p:ext>
    </p:extLst>
  </p:cmAuthor>
  <p:cmAuthor id="3" name="Isabelle LEBO" initials="IL" lastIdx="23" clrIdx="2">
    <p:extLst>
      <p:ext uri="{19B8F6BF-5375-455C-9EA6-DF929625EA0E}">
        <p15:presenceInfo xmlns:p15="http://schemas.microsoft.com/office/powerpoint/2012/main" userId="S::MA4349@bpifrance.fr::f1c985e3-394e-48e8-9a67-d1528b48b78a" providerId="AD"/>
      </p:ext>
    </p:extLst>
  </p:cmAuthor>
  <p:cmAuthor id="4" name="Thomas DEVARIEUX" initials="TD" lastIdx="4" clrIdx="3">
    <p:extLst>
      <p:ext uri="{19B8F6BF-5375-455C-9EA6-DF929625EA0E}">
        <p15:presenceInfo xmlns:p15="http://schemas.microsoft.com/office/powerpoint/2012/main" userId="S::M78552@bpifrance.fr::b3672065-a0a1-4f73-9578-3a9bacf7e220" providerId="AD"/>
      </p:ext>
    </p:extLst>
  </p:cmAuthor>
  <p:cmAuthor id="5" name="Renan THEBAULT" initials="RT" lastIdx="3" clrIdx="4">
    <p:extLst>
      <p:ext uri="{19B8F6BF-5375-455C-9EA6-DF929625EA0E}">
        <p15:presenceInfo xmlns:p15="http://schemas.microsoft.com/office/powerpoint/2012/main" userId="S::M79773@bpifrance.fr::6aab7543-537d-4fde-b810-6a4de2d516d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E514D"/>
    <a:srgbClr val="FFCD00"/>
    <a:srgbClr val="817773"/>
    <a:srgbClr val="BAB5B0"/>
    <a:srgbClr val="DC4600"/>
    <a:srgbClr val="D6061F"/>
    <a:srgbClr val="453738"/>
    <a:srgbClr val="E6E6E6"/>
    <a:srgbClr val="00789A"/>
    <a:srgbClr val="B02C6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5B7E8CE-123C-4CA0-9A8C-CD46EC48866B}" v="35" dt="2023-10-20T07:35:16.67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Style à thème 1 - Accentuation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B4B98B0-60AC-42C2-AFA5-B58CD77FA1E5}" styleName="Style léger 1 - Accentuation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Style moyen 1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E25E649-3F16-4E02-A733-19D2CDBF48F0}" styleName="Style moyen 3 - Accentuation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Style moyen 3 - Accentuation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62" d="100"/>
          <a:sy n="62" d="100"/>
        </p:scale>
        <p:origin x="1252" y="56"/>
      </p:cViewPr>
      <p:guideLst>
        <p:guide orient="horz" pos="2432"/>
        <p:guide orient="horz" pos="4247"/>
        <p:guide orient="horz" pos="346"/>
        <p:guide orient="horz" pos="3838"/>
        <p:guide orient="horz" pos="1820"/>
        <p:guide pos="3211"/>
        <p:guide pos="5207"/>
        <p:guide pos="121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6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microsoft.com/office/2018/10/relationships/authors" Target="authors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microsoft.com/office/2016/11/relationships/changesInfo" Target="changesInfos/changesInfo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sabelle LEBO" userId="S::ma4349@bpifrance.fr::f1c985e3-394e-48e8-9a67-d1528b48b78a" providerId="AD" clId="Web-{7A40FB7D-B361-4C45-AC98-1BD4EE7B8851}"/>
    <pc:docChg chg="modSld">
      <pc:chgData name="Isabelle LEBO" userId="S::ma4349@bpifrance.fr::f1c985e3-394e-48e8-9a67-d1528b48b78a" providerId="AD" clId="Web-{7A40FB7D-B361-4C45-AC98-1BD4EE7B8851}" dt="2023-03-13T10:23:28.588" v="2" actId="14100"/>
      <pc:docMkLst>
        <pc:docMk/>
      </pc:docMkLst>
      <pc:sldChg chg="modSp">
        <pc:chgData name="Isabelle LEBO" userId="S::ma4349@bpifrance.fr::f1c985e3-394e-48e8-9a67-d1528b48b78a" providerId="AD" clId="Web-{7A40FB7D-B361-4C45-AC98-1BD4EE7B8851}" dt="2023-03-13T10:23:28.588" v="2" actId="14100"/>
        <pc:sldMkLst>
          <pc:docMk/>
          <pc:sldMk cId="4045257331" sldId="3955"/>
        </pc:sldMkLst>
        <pc:spChg chg="mod">
          <ac:chgData name="Isabelle LEBO" userId="S::ma4349@bpifrance.fr::f1c985e3-394e-48e8-9a67-d1528b48b78a" providerId="AD" clId="Web-{7A40FB7D-B361-4C45-AC98-1BD4EE7B8851}" dt="2023-03-13T10:23:28.588" v="2" actId="14100"/>
          <ac:spMkLst>
            <pc:docMk/>
            <pc:sldMk cId="4045257331" sldId="3955"/>
            <ac:spMk id="11" creationId="{24265DF6-B698-9C9D-F017-73ED7789B825}"/>
          </ac:spMkLst>
        </pc:spChg>
      </pc:sldChg>
    </pc:docChg>
  </pc:docChgLst>
  <pc:docChgLst>
    <pc:chgData name="Isabelle LEBO" userId="S::ma4349@bpifrance.fr::f1c985e3-394e-48e8-9a67-d1528b48b78a" providerId="AD" clId="Web-{73E45E6C-C09C-4093-85A8-FD5FA5810895}"/>
    <pc:docChg chg="addSld delSld modSld">
      <pc:chgData name="Isabelle LEBO" userId="S::ma4349@bpifrance.fr::f1c985e3-394e-48e8-9a67-d1528b48b78a" providerId="AD" clId="Web-{73E45E6C-C09C-4093-85A8-FD5FA5810895}" dt="2023-03-03T14:45:41.035" v="327" actId="20577"/>
      <pc:docMkLst>
        <pc:docMk/>
      </pc:docMkLst>
      <pc:sldChg chg="modSp">
        <pc:chgData name="Isabelle LEBO" userId="S::ma4349@bpifrance.fr::f1c985e3-394e-48e8-9a67-d1528b48b78a" providerId="AD" clId="Web-{73E45E6C-C09C-4093-85A8-FD5FA5810895}" dt="2023-03-03T14:42:47.795" v="314" actId="1076"/>
        <pc:sldMkLst>
          <pc:docMk/>
          <pc:sldMk cId="0" sldId="273"/>
        </pc:sldMkLst>
        <pc:spChg chg="mod">
          <ac:chgData name="Isabelle LEBO" userId="S::ma4349@bpifrance.fr::f1c985e3-394e-48e8-9a67-d1528b48b78a" providerId="AD" clId="Web-{73E45E6C-C09C-4093-85A8-FD5FA5810895}" dt="2023-03-03T14:42:43.904" v="313" actId="1076"/>
          <ac:spMkLst>
            <pc:docMk/>
            <pc:sldMk cId="0" sldId="273"/>
            <ac:spMk id="2" creationId="{44E12C0D-C7D9-FAC2-D439-F671AA53170B}"/>
          </ac:spMkLst>
        </pc:spChg>
        <pc:picChg chg="mod">
          <ac:chgData name="Isabelle LEBO" userId="S::ma4349@bpifrance.fr::f1c985e3-394e-48e8-9a67-d1528b48b78a" providerId="AD" clId="Web-{73E45E6C-C09C-4093-85A8-FD5FA5810895}" dt="2023-03-03T14:42:47.795" v="314" actId="1076"/>
          <ac:picMkLst>
            <pc:docMk/>
            <pc:sldMk cId="0" sldId="273"/>
            <ac:picMk id="77" creationId="{58E92E54-3786-9ED1-5D39-38D79413B58E}"/>
          </ac:picMkLst>
        </pc:picChg>
      </pc:sldChg>
      <pc:sldChg chg="modSp">
        <pc:chgData name="Isabelle LEBO" userId="S::ma4349@bpifrance.fr::f1c985e3-394e-48e8-9a67-d1528b48b78a" providerId="AD" clId="Web-{73E45E6C-C09C-4093-85A8-FD5FA5810895}" dt="2023-03-03T14:05:53.632" v="118" actId="20577"/>
        <pc:sldMkLst>
          <pc:docMk/>
          <pc:sldMk cId="4137056731" sldId="338"/>
        </pc:sldMkLst>
        <pc:spChg chg="mod">
          <ac:chgData name="Isabelle LEBO" userId="S::ma4349@bpifrance.fr::f1c985e3-394e-48e8-9a67-d1528b48b78a" providerId="AD" clId="Web-{73E45E6C-C09C-4093-85A8-FD5FA5810895}" dt="2023-03-03T14:05:53.632" v="118" actId="20577"/>
          <ac:spMkLst>
            <pc:docMk/>
            <pc:sldMk cId="4137056731" sldId="338"/>
            <ac:spMk id="3" creationId="{00000000-0000-0000-0000-000000000000}"/>
          </ac:spMkLst>
        </pc:spChg>
      </pc:sldChg>
      <pc:sldChg chg="modSp">
        <pc:chgData name="Isabelle LEBO" userId="S::ma4349@bpifrance.fr::f1c985e3-394e-48e8-9a67-d1528b48b78a" providerId="AD" clId="Web-{73E45E6C-C09C-4093-85A8-FD5FA5810895}" dt="2023-03-03T14:36:43.440" v="269" actId="1076"/>
        <pc:sldMkLst>
          <pc:docMk/>
          <pc:sldMk cId="483477197" sldId="350"/>
        </pc:sldMkLst>
        <pc:spChg chg="mod">
          <ac:chgData name="Isabelle LEBO" userId="S::ma4349@bpifrance.fr::f1c985e3-394e-48e8-9a67-d1528b48b78a" providerId="AD" clId="Web-{73E45E6C-C09C-4093-85A8-FD5FA5810895}" dt="2023-03-03T14:36:43.424" v="268" actId="1076"/>
          <ac:spMkLst>
            <pc:docMk/>
            <pc:sldMk cId="483477197" sldId="350"/>
            <ac:spMk id="3" creationId="{39069642-E21D-C1C3-9EF1-510E99B28F31}"/>
          </ac:spMkLst>
        </pc:spChg>
        <pc:spChg chg="mod">
          <ac:chgData name="Isabelle LEBO" userId="S::ma4349@bpifrance.fr::f1c985e3-394e-48e8-9a67-d1528b48b78a" providerId="AD" clId="Web-{73E45E6C-C09C-4093-85A8-FD5FA5810895}" dt="2023-03-03T14:36:43.440" v="269" actId="1076"/>
          <ac:spMkLst>
            <pc:docMk/>
            <pc:sldMk cId="483477197" sldId="350"/>
            <ac:spMk id="8" creationId="{B3A1A5F5-253D-1455-A091-79BF1715FBF5}"/>
          </ac:spMkLst>
        </pc:spChg>
      </pc:sldChg>
      <pc:sldChg chg="modSp">
        <pc:chgData name="Isabelle LEBO" userId="S::ma4349@bpifrance.fr::f1c985e3-394e-48e8-9a67-d1528b48b78a" providerId="AD" clId="Web-{73E45E6C-C09C-4093-85A8-FD5FA5810895}" dt="2023-03-03T14:29:39.567" v="210" actId="1076"/>
        <pc:sldMkLst>
          <pc:docMk/>
          <pc:sldMk cId="274459055" sldId="356"/>
        </pc:sldMkLst>
        <pc:spChg chg="mod">
          <ac:chgData name="Isabelle LEBO" userId="S::ma4349@bpifrance.fr::f1c985e3-394e-48e8-9a67-d1528b48b78a" providerId="AD" clId="Web-{73E45E6C-C09C-4093-85A8-FD5FA5810895}" dt="2023-03-03T14:29:03.379" v="192" actId="1076"/>
          <ac:spMkLst>
            <pc:docMk/>
            <pc:sldMk cId="274459055" sldId="356"/>
            <ac:spMk id="6" creationId="{E7BC887F-329E-4C60-8513-5DE73A91CD51}"/>
          </ac:spMkLst>
        </pc:spChg>
        <pc:spChg chg="mod">
          <ac:chgData name="Isabelle LEBO" userId="S::ma4349@bpifrance.fr::f1c985e3-394e-48e8-9a67-d1528b48b78a" providerId="AD" clId="Web-{73E45E6C-C09C-4093-85A8-FD5FA5810895}" dt="2023-03-03T14:29:39.442" v="205" actId="1076"/>
          <ac:spMkLst>
            <pc:docMk/>
            <pc:sldMk cId="274459055" sldId="356"/>
            <ac:spMk id="8" creationId="{004A3CD6-16C5-8F6A-ECC7-47EAEEC639E0}"/>
          </ac:spMkLst>
        </pc:spChg>
        <pc:spChg chg="mod">
          <ac:chgData name="Isabelle LEBO" userId="S::ma4349@bpifrance.fr::f1c985e3-394e-48e8-9a67-d1528b48b78a" providerId="AD" clId="Web-{73E45E6C-C09C-4093-85A8-FD5FA5810895}" dt="2023-03-03T14:28:52.035" v="190"/>
          <ac:spMkLst>
            <pc:docMk/>
            <pc:sldMk cId="274459055" sldId="356"/>
            <ac:spMk id="9" creationId="{F044A8CF-CAD2-68C6-5DA2-BDF4002F5A67}"/>
          </ac:spMkLst>
        </pc:spChg>
        <pc:spChg chg="mod">
          <ac:chgData name="Isabelle LEBO" userId="S::ma4349@bpifrance.fr::f1c985e3-394e-48e8-9a67-d1528b48b78a" providerId="AD" clId="Web-{73E45E6C-C09C-4093-85A8-FD5FA5810895}" dt="2023-03-03T14:29:39.536" v="209" actId="1076"/>
          <ac:spMkLst>
            <pc:docMk/>
            <pc:sldMk cId="274459055" sldId="356"/>
            <ac:spMk id="45" creationId="{FC98FE03-26E2-418B-832A-6802E5053658}"/>
          </ac:spMkLst>
        </pc:spChg>
        <pc:grpChg chg="mod">
          <ac:chgData name="Isabelle LEBO" userId="S::ma4349@bpifrance.fr::f1c985e3-394e-48e8-9a67-d1528b48b78a" providerId="AD" clId="Web-{73E45E6C-C09C-4093-85A8-FD5FA5810895}" dt="2023-03-03T14:29:39.567" v="210" actId="1076"/>
          <ac:grpSpMkLst>
            <pc:docMk/>
            <pc:sldMk cId="274459055" sldId="356"/>
            <ac:grpSpMk id="2" creationId="{D4620196-D6C9-4998-ADA6-8EC786597C2F}"/>
          </ac:grpSpMkLst>
        </pc:grpChg>
        <pc:grpChg chg="mod">
          <ac:chgData name="Isabelle LEBO" userId="S::ma4349@bpifrance.fr::f1c985e3-394e-48e8-9a67-d1528b48b78a" providerId="AD" clId="Web-{73E45E6C-C09C-4093-85A8-FD5FA5810895}" dt="2023-03-03T14:29:39.505" v="207" actId="1076"/>
          <ac:grpSpMkLst>
            <pc:docMk/>
            <pc:sldMk cId="274459055" sldId="356"/>
            <ac:grpSpMk id="3" creationId="{C654F5D6-C263-40F0-9AA8-5C9612930086}"/>
          </ac:grpSpMkLst>
        </pc:grpChg>
        <pc:grpChg chg="mod">
          <ac:chgData name="Isabelle LEBO" userId="S::ma4349@bpifrance.fr::f1c985e3-394e-48e8-9a67-d1528b48b78a" providerId="AD" clId="Web-{73E45E6C-C09C-4093-85A8-FD5FA5810895}" dt="2023-03-03T14:29:39.474" v="206" actId="1076"/>
          <ac:grpSpMkLst>
            <pc:docMk/>
            <pc:sldMk cId="274459055" sldId="356"/>
            <ac:grpSpMk id="4" creationId="{D2E84A61-BF46-412F-956D-98EE336E54A9}"/>
          </ac:grpSpMkLst>
        </pc:grpChg>
        <pc:grpChg chg="mod">
          <ac:chgData name="Isabelle LEBO" userId="S::ma4349@bpifrance.fr::f1c985e3-394e-48e8-9a67-d1528b48b78a" providerId="AD" clId="Web-{73E45E6C-C09C-4093-85A8-FD5FA5810895}" dt="2023-03-03T14:29:39.520" v="208" actId="1076"/>
          <ac:grpSpMkLst>
            <pc:docMk/>
            <pc:sldMk cId="274459055" sldId="356"/>
            <ac:grpSpMk id="5" creationId="{7E781D2B-14DE-414C-9B3E-2ADFDEEC5D71}"/>
          </ac:grpSpMkLst>
        </pc:grpChg>
      </pc:sldChg>
      <pc:sldChg chg="del">
        <pc:chgData name="Isabelle LEBO" userId="S::ma4349@bpifrance.fr::f1c985e3-394e-48e8-9a67-d1528b48b78a" providerId="AD" clId="Web-{73E45E6C-C09C-4093-85A8-FD5FA5810895}" dt="2023-03-03T14:27:14.141" v="188"/>
        <pc:sldMkLst>
          <pc:docMk/>
          <pc:sldMk cId="2201741666" sldId="363"/>
        </pc:sldMkLst>
      </pc:sldChg>
      <pc:sldChg chg="addSp delSp modSp del">
        <pc:chgData name="Isabelle LEBO" userId="S::ma4349@bpifrance.fr::f1c985e3-394e-48e8-9a67-d1528b48b78a" providerId="AD" clId="Web-{73E45E6C-C09C-4093-85A8-FD5FA5810895}" dt="2023-03-03T14:05:22.616" v="115"/>
        <pc:sldMkLst>
          <pc:docMk/>
          <pc:sldMk cId="261182061" sldId="1588"/>
        </pc:sldMkLst>
        <pc:spChg chg="add">
          <ac:chgData name="Isabelle LEBO" userId="S::ma4349@bpifrance.fr::f1c985e3-394e-48e8-9a67-d1528b48b78a" providerId="AD" clId="Web-{73E45E6C-C09C-4093-85A8-FD5FA5810895}" dt="2023-03-03T13:49:58.524" v="72"/>
          <ac:spMkLst>
            <pc:docMk/>
            <pc:sldMk cId="261182061" sldId="1588"/>
            <ac:spMk id="5" creationId="{98D00D9A-40F0-7F27-9BFF-B21C3620FC43}"/>
          </ac:spMkLst>
        </pc:spChg>
        <pc:spChg chg="add mod">
          <ac:chgData name="Isabelle LEBO" userId="S::ma4349@bpifrance.fr::f1c985e3-394e-48e8-9a67-d1528b48b78a" providerId="AD" clId="Web-{73E45E6C-C09C-4093-85A8-FD5FA5810895}" dt="2023-03-03T13:50:05.743" v="79" actId="1076"/>
          <ac:spMkLst>
            <pc:docMk/>
            <pc:sldMk cId="261182061" sldId="1588"/>
            <ac:spMk id="7" creationId="{97462637-F373-F601-B3E0-BA28A20D4076}"/>
          </ac:spMkLst>
        </pc:spChg>
        <pc:spChg chg="add mod">
          <ac:chgData name="Isabelle LEBO" userId="S::ma4349@bpifrance.fr::f1c985e3-394e-48e8-9a67-d1528b48b78a" providerId="AD" clId="Web-{73E45E6C-C09C-4093-85A8-FD5FA5810895}" dt="2023-03-03T13:51:26.918" v="97" actId="1076"/>
          <ac:spMkLst>
            <pc:docMk/>
            <pc:sldMk cId="261182061" sldId="1588"/>
            <ac:spMk id="9" creationId="{BCE0E5B7-B6CB-0E8B-FB32-BB3F2929DA1A}"/>
          </ac:spMkLst>
        </pc:spChg>
        <pc:spChg chg="del">
          <ac:chgData name="Isabelle LEBO" userId="S::ma4349@bpifrance.fr::f1c985e3-394e-48e8-9a67-d1528b48b78a" providerId="AD" clId="Web-{73E45E6C-C09C-4093-85A8-FD5FA5810895}" dt="2023-03-03T13:49:44.040" v="70"/>
          <ac:spMkLst>
            <pc:docMk/>
            <pc:sldMk cId="261182061" sldId="1588"/>
            <ac:spMk id="19" creationId="{8DDBE667-01EF-45C8-B53B-0B8B1D5DE9BF}"/>
          </ac:spMkLst>
        </pc:spChg>
        <pc:spChg chg="add mod">
          <ac:chgData name="Isabelle LEBO" userId="S::ma4349@bpifrance.fr::f1c985e3-394e-48e8-9a67-d1528b48b78a" providerId="AD" clId="Web-{73E45E6C-C09C-4093-85A8-FD5FA5810895}" dt="2023-03-03T13:51:30.105" v="98" actId="1076"/>
          <ac:spMkLst>
            <pc:docMk/>
            <pc:sldMk cId="261182061" sldId="1588"/>
            <ac:spMk id="21" creationId="{6AEBB2E4-80B4-1343-024E-E55EC30E19D5}"/>
          </ac:spMkLst>
        </pc:spChg>
        <pc:spChg chg="add mod">
          <ac:chgData name="Isabelle LEBO" userId="S::ma4349@bpifrance.fr::f1c985e3-394e-48e8-9a67-d1528b48b78a" providerId="AD" clId="Web-{73E45E6C-C09C-4093-85A8-FD5FA5810895}" dt="2023-03-03T13:51:34.652" v="99" actId="1076"/>
          <ac:spMkLst>
            <pc:docMk/>
            <pc:sldMk cId="261182061" sldId="1588"/>
            <ac:spMk id="23" creationId="{42008238-6220-C523-A433-19B81E22D773}"/>
          </ac:spMkLst>
        </pc:spChg>
        <pc:spChg chg="add">
          <ac:chgData name="Isabelle LEBO" userId="S::ma4349@bpifrance.fr::f1c985e3-394e-48e8-9a67-d1528b48b78a" providerId="AD" clId="Web-{73E45E6C-C09C-4093-85A8-FD5FA5810895}" dt="2023-03-03T13:55:25.972" v="102"/>
          <ac:spMkLst>
            <pc:docMk/>
            <pc:sldMk cId="261182061" sldId="1588"/>
            <ac:spMk id="28" creationId="{370BAD24-9729-9207-EE3B-B18390EE5090}"/>
          </ac:spMkLst>
        </pc:spChg>
        <pc:spChg chg="mod">
          <ac:chgData name="Isabelle LEBO" userId="S::ma4349@bpifrance.fr::f1c985e3-394e-48e8-9a67-d1528b48b78a" providerId="AD" clId="Web-{73E45E6C-C09C-4093-85A8-FD5FA5810895}" dt="2023-03-03T13:49:24.976" v="69" actId="20577"/>
          <ac:spMkLst>
            <pc:docMk/>
            <pc:sldMk cId="261182061" sldId="1588"/>
            <ac:spMk id="36" creationId="{F7FE51EF-F819-43AD-A1D2-6404ED77E26F}"/>
          </ac:spMkLst>
        </pc:spChg>
        <pc:spChg chg="del">
          <ac:chgData name="Isabelle LEBO" userId="S::ma4349@bpifrance.fr::f1c985e3-394e-48e8-9a67-d1528b48b78a" providerId="AD" clId="Web-{73E45E6C-C09C-4093-85A8-FD5FA5810895}" dt="2023-03-03T13:50:59.948" v="92"/>
          <ac:spMkLst>
            <pc:docMk/>
            <pc:sldMk cId="261182061" sldId="1588"/>
            <ac:spMk id="42" creationId="{F020428E-E9DD-4F11-B22F-4DC4438C04AA}"/>
          </ac:spMkLst>
        </pc:spChg>
        <pc:spChg chg="mod">
          <ac:chgData name="Isabelle LEBO" userId="S::ma4349@bpifrance.fr::f1c985e3-394e-48e8-9a67-d1528b48b78a" providerId="AD" clId="Web-{73E45E6C-C09C-4093-85A8-FD5FA5810895}" dt="2023-03-03T13:50:11.259" v="80" actId="20577"/>
          <ac:spMkLst>
            <pc:docMk/>
            <pc:sldMk cId="261182061" sldId="1588"/>
            <ac:spMk id="43" creationId="{E5D6ABE3-D698-4C79-8691-AB2C5C2ED055}"/>
          </ac:spMkLst>
        </pc:spChg>
        <pc:spChg chg="del">
          <ac:chgData name="Isabelle LEBO" userId="S::ma4349@bpifrance.fr::f1c985e3-394e-48e8-9a67-d1528b48b78a" providerId="AD" clId="Web-{73E45E6C-C09C-4093-85A8-FD5FA5810895}" dt="2023-03-03T13:51:04.089" v="93"/>
          <ac:spMkLst>
            <pc:docMk/>
            <pc:sldMk cId="261182061" sldId="1588"/>
            <ac:spMk id="46" creationId="{58B61012-323A-4DAC-925D-94FF2856363A}"/>
          </ac:spMkLst>
        </pc:spChg>
        <pc:spChg chg="mod">
          <ac:chgData name="Isabelle LEBO" userId="S::ma4349@bpifrance.fr::f1c985e3-394e-48e8-9a67-d1528b48b78a" providerId="AD" clId="Web-{73E45E6C-C09C-4093-85A8-FD5FA5810895}" dt="2023-03-03T13:51:06.636" v="94" actId="20577"/>
          <ac:spMkLst>
            <pc:docMk/>
            <pc:sldMk cId="261182061" sldId="1588"/>
            <ac:spMk id="47" creationId="{8BE7DA0B-1537-438D-82B7-6D7FEC47C3FB}"/>
          </ac:spMkLst>
        </pc:spChg>
        <pc:spChg chg="mod">
          <ac:chgData name="Isabelle LEBO" userId="S::ma4349@bpifrance.fr::f1c985e3-394e-48e8-9a67-d1528b48b78a" providerId="AD" clId="Web-{73E45E6C-C09C-4093-85A8-FD5FA5810895}" dt="2023-03-03T13:51:11.933" v="95" actId="20577"/>
          <ac:spMkLst>
            <pc:docMk/>
            <pc:sldMk cId="261182061" sldId="1588"/>
            <ac:spMk id="49" creationId="{2C66709D-A9E4-45B7-AC21-4F779354B614}"/>
          </ac:spMkLst>
        </pc:spChg>
        <pc:spChg chg="del">
          <ac:chgData name="Isabelle LEBO" userId="S::ma4349@bpifrance.fr::f1c985e3-394e-48e8-9a67-d1528b48b78a" providerId="AD" clId="Web-{73E45E6C-C09C-4093-85A8-FD5FA5810895}" dt="2023-03-03T13:49:53.821" v="71"/>
          <ac:spMkLst>
            <pc:docMk/>
            <pc:sldMk cId="261182061" sldId="1588"/>
            <ac:spMk id="54" creationId="{3327DF3C-051D-410E-8816-CD1844E02BEC}"/>
          </ac:spMkLst>
        </pc:spChg>
        <pc:spChg chg="del">
          <ac:chgData name="Isabelle LEBO" userId="S::ma4349@bpifrance.fr::f1c985e3-394e-48e8-9a67-d1528b48b78a" providerId="AD" clId="Web-{73E45E6C-C09C-4093-85A8-FD5FA5810895}" dt="2023-03-03T13:50:19.431" v="81"/>
          <ac:spMkLst>
            <pc:docMk/>
            <pc:sldMk cId="261182061" sldId="1588"/>
            <ac:spMk id="55" creationId="{9292472A-66F0-45CB-B02D-50A1575DB1C4}"/>
          </ac:spMkLst>
        </pc:spChg>
        <pc:spChg chg="del">
          <ac:chgData name="Isabelle LEBO" userId="S::ma4349@bpifrance.fr::f1c985e3-394e-48e8-9a67-d1528b48b78a" providerId="AD" clId="Web-{73E45E6C-C09C-4093-85A8-FD5FA5810895}" dt="2023-03-03T13:50:45.573" v="88"/>
          <ac:spMkLst>
            <pc:docMk/>
            <pc:sldMk cId="261182061" sldId="1588"/>
            <ac:spMk id="56" creationId="{BBAF37E9-A4B7-4F05-956F-B11758480793}"/>
          </ac:spMkLst>
        </pc:spChg>
        <pc:spChg chg="del">
          <ac:chgData name="Isabelle LEBO" userId="S::ma4349@bpifrance.fr::f1c985e3-394e-48e8-9a67-d1528b48b78a" providerId="AD" clId="Web-{73E45E6C-C09C-4093-85A8-FD5FA5810895}" dt="2023-03-03T13:50:49.338" v="89"/>
          <ac:spMkLst>
            <pc:docMk/>
            <pc:sldMk cId="261182061" sldId="1588"/>
            <ac:spMk id="57" creationId="{E8281830-6BDE-486D-8841-9357A31D6174}"/>
          </ac:spMkLst>
        </pc:spChg>
        <pc:spChg chg="del">
          <ac:chgData name="Isabelle LEBO" userId="S::ma4349@bpifrance.fr::f1c985e3-394e-48e8-9a67-d1528b48b78a" providerId="AD" clId="Web-{73E45E6C-C09C-4093-85A8-FD5FA5810895}" dt="2023-03-03T13:50:52.682" v="90"/>
          <ac:spMkLst>
            <pc:docMk/>
            <pc:sldMk cId="261182061" sldId="1588"/>
            <ac:spMk id="58" creationId="{ABFE0DFD-39CE-4EC7-91F4-BA2352779E57}"/>
          </ac:spMkLst>
        </pc:spChg>
        <pc:spChg chg="del">
          <ac:chgData name="Isabelle LEBO" userId="S::ma4349@bpifrance.fr::f1c985e3-394e-48e8-9a67-d1528b48b78a" providerId="AD" clId="Web-{73E45E6C-C09C-4093-85A8-FD5FA5810895}" dt="2023-03-03T13:50:56.136" v="91"/>
          <ac:spMkLst>
            <pc:docMk/>
            <pc:sldMk cId="261182061" sldId="1588"/>
            <ac:spMk id="59" creationId="{8C52A48D-666C-44B9-A58E-F4DE1D62C632}"/>
          </ac:spMkLst>
        </pc:spChg>
        <pc:spChg chg="del">
          <ac:chgData name="Isabelle LEBO" userId="S::ma4349@bpifrance.fr::f1c985e3-394e-48e8-9a67-d1528b48b78a" providerId="AD" clId="Web-{73E45E6C-C09C-4093-85A8-FD5FA5810895}" dt="2023-03-03T13:51:16.542" v="96"/>
          <ac:spMkLst>
            <pc:docMk/>
            <pc:sldMk cId="261182061" sldId="1588"/>
            <ac:spMk id="67" creationId="{BF055BEA-59F0-4EF3-865B-805DFE2C7D62}"/>
          </ac:spMkLst>
        </pc:spChg>
        <pc:picChg chg="add mod">
          <ac:chgData name="Isabelle LEBO" userId="S::ma4349@bpifrance.fr::f1c985e3-394e-48e8-9a67-d1528b48b78a" providerId="AD" clId="Web-{73E45E6C-C09C-4093-85A8-FD5FA5810895}" dt="2023-03-03T13:59:21.214" v="103" actId="1076"/>
          <ac:picMkLst>
            <pc:docMk/>
            <pc:sldMk cId="261182061" sldId="1588"/>
            <ac:picMk id="25" creationId="{8ECCECD4-20F2-7D13-D9FE-5A772F7E923A}"/>
          </ac:picMkLst>
        </pc:picChg>
        <pc:picChg chg="add mod">
          <ac:chgData name="Isabelle LEBO" userId="S::ma4349@bpifrance.fr::f1c985e3-394e-48e8-9a67-d1528b48b78a" providerId="AD" clId="Web-{73E45E6C-C09C-4093-85A8-FD5FA5810895}" dt="2023-03-03T13:59:23.354" v="104" actId="1076"/>
          <ac:picMkLst>
            <pc:docMk/>
            <pc:sldMk cId="261182061" sldId="1588"/>
            <ac:picMk id="27" creationId="{4403CDBA-FD75-3C2D-9A61-41CD6E10AA5D}"/>
          </ac:picMkLst>
        </pc:picChg>
      </pc:sldChg>
      <pc:sldChg chg="modSp">
        <pc:chgData name="Isabelle LEBO" userId="S::ma4349@bpifrance.fr::f1c985e3-394e-48e8-9a67-d1528b48b78a" providerId="AD" clId="Web-{73E45E6C-C09C-4093-85A8-FD5FA5810895}" dt="2023-03-03T14:38:44.944" v="300" actId="14100"/>
        <pc:sldMkLst>
          <pc:docMk/>
          <pc:sldMk cId="1394747852" sldId="1596"/>
        </pc:sldMkLst>
        <pc:spChg chg="mod">
          <ac:chgData name="Isabelle LEBO" userId="S::ma4349@bpifrance.fr::f1c985e3-394e-48e8-9a67-d1528b48b78a" providerId="AD" clId="Web-{73E45E6C-C09C-4093-85A8-FD5FA5810895}" dt="2023-03-03T14:33:00.511" v="261" actId="1076"/>
          <ac:spMkLst>
            <pc:docMk/>
            <pc:sldMk cId="1394747852" sldId="1596"/>
            <ac:spMk id="2" creationId="{381A269D-C112-4BB8-89B2-F8D2BB430ED4}"/>
          </ac:spMkLst>
        </pc:spChg>
        <pc:spChg chg="mod">
          <ac:chgData name="Isabelle LEBO" userId="S::ma4349@bpifrance.fr::f1c985e3-394e-48e8-9a67-d1528b48b78a" providerId="AD" clId="Web-{73E45E6C-C09C-4093-85A8-FD5FA5810895}" dt="2023-03-03T14:33:13.027" v="262" actId="20577"/>
          <ac:spMkLst>
            <pc:docMk/>
            <pc:sldMk cId="1394747852" sldId="1596"/>
            <ac:spMk id="5" creationId="{D1BBA8AF-4F73-F910-532E-EB7D9497E212}"/>
          </ac:spMkLst>
        </pc:spChg>
        <pc:spChg chg="mod">
          <ac:chgData name="Isabelle LEBO" userId="S::ma4349@bpifrance.fr::f1c985e3-394e-48e8-9a67-d1528b48b78a" providerId="AD" clId="Web-{73E45E6C-C09C-4093-85A8-FD5FA5810895}" dt="2023-03-03T14:37:50.286" v="291" actId="1076"/>
          <ac:spMkLst>
            <pc:docMk/>
            <pc:sldMk cId="1394747852" sldId="1596"/>
            <ac:spMk id="8" creationId="{A1587FFC-FF80-A442-C2CD-DBB90E35C2FE}"/>
          </ac:spMkLst>
        </pc:spChg>
        <pc:spChg chg="mod">
          <ac:chgData name="Isabelle LEBO" userId="S::ma4349@bpifrance.fr::f1c985e3-394e-48e8-9a67-d1528b48b78a" providerId="AD" clId="Web-{73E45E6C-C09C-4093-85A8-FD5FA5810895}" dt="2023-03-03T14:38:12.755" v="293" actId="1076"/>
          <ac:spMkLst>
            <pc:docMk/>
            <pc:sldMk cId="1394747852" sldId="1596"/>
            <ac:spMk id="17" creationId="{96BAA0C7-C4BE-4C5E-8B51-DBA11A27FAFF}"/>
          </ac:spMkLst>
        </pc:spChg>
        <pc:spChg chg="mod">
          <ac:chgData name="Isabelle LEBO" userId="S::ma4349@bpifrance.fr::f1c985e3-394e-48e8-9a67-d1528b48b78a" providerId="AD" clId="Web-{73E45E6C-C09C-4093-85A8-FD5FA5810895}" dt="2023-03-03T14:33:00.464" v="259" actId="1076"/>
          <ac:spMkLst>
            <pc:docMk/>
            <pc:sldMk cId="1394747852" sldId="1596"/>
            <ac:spMk id="38" creationId="{3D769E73-B016-458A-9172-A1FCD70ABBA8}"/>
          </ac:spMkLst>
        </pc:spChg>
        <pc:spChg chg="mod">
          <ac:chgData name="Isabelle LEBO" userId="S::ma4349@bpifrance.fr::f1c985e3-394e-48e8-9a67-d1528b48b78a" providerId="AD" clId="Web-{73E45E6C-C09C-4093-85A8-FD5FA5810895}" dt="2023-03-03T14:33:00.495" v="260" actId="1076"/>
          <ac:spMkLst>
            <pc:docMk/>
            <pc:sldMk cId="1394747852" sldId="1596"/>
            <ac:spMk id="39" creationId="{4A775780-CB87-4495-BB57-AFC7461E84B4}"/>
          </ac:spMkLst>
        </pc:spChg>
        <pc:grpChg chg="mod">
          <ac:chgData name="Isabelle LEBO" userId="S::ma4349@bpifrance.fr::f1c985e3-394e-48e8-9a67-d1528b48b78a" providerId="AD" clId="Web-{73E45E6C-C09C-4093-85A8-FD5FA5810895}" dt="2023-03-03T14:38:44.944" v="300" actId="14100"/>
          <ac:grpSpMkLst>
            <pc:docMk/>
            <pc:sldMk cId="1394747852" sldId="1596"/>
            <ac:grpSpMk id="18" creationId="{6181534D-37BF-43B7-8F8A-059750B37DA7}"/>
          </ac:grpSpMkLst>
        </pc:grpChg>
        <pc:grpChg chg="mod">
          <ac:chgData name="Isabelle LEBO" userId="S::ma4349@bpifrance.fr::f1c985e3-394e-48e8-9a67-d1528b48b78a" providerId="AD" clId="Web-{73E45E6C-C09C-4093-85A8-FD5FA5810895}" dt="2023-03-03T14:38:24.474" v="297" actId="1076"/>
          <ac:grpSpMkLst>
            <pc:docMk/>
            <pc:sldMk cId="1394747852" sldId="1596"/>
            <ac:grpSpMk id="21" creationId="{CB2B2897-0C2C-4363-833F-43561D16E7B3}"/>
          </ac:grpSpMkLst>
        </pc:grpChg>
        <pc:picChg chg="mod">
          <ac:chgData name="Isabelle LEBO" userId="S::ma4349@bpifrance.fr::f1c985e3-394e-48e8-9a67-d1528b48b78a" providerId="AD" clId="Web-{73E45E6C-C09C-4093-85A8-FD5FA5810895}" dt="2023-03-03T14:38:36.850" v="299" actId="14100"/>
          <ac:picMkLst>
            <pc:docMk/>
            <pc:sldMk cId="1394747852" sldId="1596"/>
            <ac:picMk id="16" creationId="{6CA888B7-F49C-44F2-9C71-4D60225A614A}"/>
          </ac:picMkLst>
        </pc:picChg>
      </pc:sldChg>
      <pc:sldChg chg="modSp">
        <pc:chgData name="Isabelle LEBO" userId="S::ma4349@bpifrance.fr::f1c985e3-394e-48e8-9a67-d1528b48b78a" providerId="AD" clId="Web-{73E45E6C-C09C-4093-85A8-FD5FA5810895}" dt="2023-03-03T14:41:49.309" v="311" actId="20577"/>
        <pc:sldMkLst>
          <pc:docMk/>
          <pc:sldMk cId="596822363" sldId="3943"/>
        </pc:sldMkLst>
        <pc:spChg chg="mod">
          <ac:chgData name="Isabelle LEBO" userId="S::ma4349@bpifrance.fr::f1c985e3-394e-48e8-9a67-d1528b48b78a" providerId="AD" clId="Web-{73E45E6C-C09C-4093-85A8-FD5FA5810895}" dt="2023-03-03T14:41:11.105" v="309" actId="20577"/>
          <ac:spMkLst>
            <pc:docMk/>
            <pc:sldMk cId="596822363" sldId="3943"/>
            <ac:spMk id="4" creationId="{263FC635-0A05-D810-BC18-64A2ABDCD6D0}"/>
          </ac:spMkLst>
        </pc:spChg>
        <pc:spChg chg="mod">
          <ac:chgData name="Isabelle LEBO" userId="S::ma4349@bpifrance.fr::f1c985e3-394e-48e8-9a67-d1528b48b78a" providerId="AD" clId="Web-{73E45E6C-C09C-4093-85A8-FD5FA5810895}" dt="2023-03-03T14:41:49.309" v="311" actId="20577"/>
          <ac:spMkLst>
            <pc:docMk/>
            <pc:sldMk cId="596822363" sldId="3943"/>
            <ac:spMk id="10" creationId="{1720A44C-B821-1537-473D-DF372D1A6E97}"/>
          </ac:spMkLst>
        </pc:spChg>
      </pc:sldChg>
      <pc:sldChg chg="modSp">
        <pc:chgData name="Isabelle LEBO" userId="S::ma4349@bpifrance.fr::f1c985e3-394e-48e8-9a67-d1528b48b78a" providerId="AD" clId="Web-{73E45E6C-C09C-4093-85A8-FD5FA5810895}" dt="2023-03-03T14:44:47.705" v="319" actId="20577"/>
        <pc:sldMkLst>
          <pc:docMk/>
          <pc:sldMk cId="3065012018" sldId="3944"/>
        </pc:sldMkLst>
        <pc:spChg chg="mod">
          <ac:chgData name="Isabelle LEBO" userId="S::ma4349@bpifrance.fr::f1c985e3-394e-48e8-9a67-d1528b48b78a" providerId="AD" clId="Web-{73E45E6C-C09C-4093-85A8-FD5FA5810895}" dt="2023-03-03T14:44:47.705" v="319" actId="20577"/>
          <ac:spMkLst>
            <pc:docMk/>
            <pc:sldMk cId="3065012018" sldId="3944"/>
            <ac:spMk id="5" creationId="{59064968-61C7-BD49-8606-15C574A925A9}"/>
          </ac:spMkLst>
        </pc:spChg>
      </pc:sldChg>
      <pc:sldChg chg="new del">
        <pc:chgData name="Isabelle LEBO" userId="S::ma4349@bpifrance.fr::f1c985e3-394e-48e8-9a67-d1528b48b78a" providerId="AD" clId="Web-{73E45E6C-C09C-4093-85A8-FD5FA5810895}" dt="2023-03-03T13:59:27.167" v="105"/>
        <pc:sldMkLst>
          <pc:docMk/>
          <pc:sldMk cId="413682805" sldId="3945"/>
        </pc:sldMkLst>
      </pc:sldChg>
      <pc:sldChg chg="addSp delSp modSp add del">
        <pc:chgData name="Isabelle LEBO" userId="S::ma4349@bpifrance.fr::f1c985e3-394e-48e8-9a67-d1528b48b78a" providerId="AD" clId="Web-{73E45E6C-C09C-4093-85A8-FD5FA5810895}" dt="2023-03-03T14:05:23.569" v="116"/>
        <pc:sldMkLst>
          <pc:docMk/>
          <pc:sldMk cId="1764931548" sldId="3946"/>
        </pc:sldMkLst>
        <pc:spChg chg="del mod">
          <ac:chgData name="Isabelle LEBO" userId="S::ma4349@bpifrance.fr::f1c985e3-394e-48e8-9a67-d1528b48b78a" providerId="AD" clId="Web-{73E45E6C-C09C-4093-85A8-FD5FA5810895}" dt="2023-03-03T13:42:49.152" v="6"/>
          <ac:spMkLst>
            <pc:docMk/>
            <pc:sldMk cId="1764931548" sldId="3946"/>
            <ac:spMk id="8" creationId="{0055A1DC-93E7-40B4-84CA-B0F8F2260BF2}"/>
          </ac:spMkLst>
        </pc:spChg>
        <pc:spChg chg="del">
          <ac:chgData name="Isabelle LEBO" userId="S::ma4349@bpifrance.fr::f1c985e3-394e-48e8-9a67-d1528b48b78a" providerId="AD" clId="Web-{73E45E6C-C09C-4093-85A8-FD5FA5810895}" dt="2023-03-03T13:42:58.074" v="8"/>
          <ac:spMkLst>
            <pc:docMk/>
            <pc:sldMk cId="1764931548" sldId="3946"/>
            <ac:spMk id="10" creationId="{F8C320CE-B9EB-4028-9F7F-AF57C813816C}"/>
          </ac:spMkLst>
        </pc:spChg>
        <pc:spChg chg="del">
          <ac:chgData name="Isabelle LEBO" userId="S::ma4349@bpifrance.fr::f1c985e3-394e-48e8-9a67-d1528b48b78a" providerId="AD" clId="Web-{73E45E6C-C09C-4093-85A8-FD5FA5810895}" dt="2023-03-03T13:42:53.808" v="7"/>
          <ac:spMkLst>
            <pc:docMk/>
            <pc:sldMk cId="1764931548" sldId="3946"/>
            <ac:spMk id="12" creationId="{74DEB83B-9F68-4E11-BB3F-0F24B0F91B36}"/>
          </ac:spMkLst>
        </pc:spChg>
        <pc:spChg chg="del">
          <ac:chgData name="Isabelle LEBO" userId="S::ma4349@bpifrance.fr::f1c985e3-394e-48e8-9a67-d1528b48b78a" providerId="AD" clId="Web-{73E45E6C-C09C-4093-85A8-FD5FA5810895}" dt="2023-03-03T13:43:14.996" v="10"/>
          <ac:spMkLst>
            <pc:docMk/>
            <pc:sldMk cId="1764931548" sldId="3946"/>
            <ac:spMk id="14" creationId="{0E2B56CC-8687-4359-9285-79F9F986FB77}"/>
          </ac:spMkLst>
        </pc:spChg>
        <pc:spChg chg="mod">
          <ac:chgData name="Isabelle LEBO" userId="S::ma4349@bpifrance.fr::f1c985e3-394e-48e8-9a67-d1528b48b78a" providerId="AD" clId="Web-{73E45E6C-C09C-4093-85A8-FD5FA5810895}" dt="2023-03-03T13:47:15.222" v="49" actId="1076"/>
          <ac:spMkLst>
            <pc:docMk/>
            <pc:sldMk cId="1764931548" sldId="3946"/>
            <ac:spMk id="17" creationId="{94322618-CD32-4380-A779-F6ABB4797AF3}"/>
          </ac:spMkLst>
        </pc:spChg>
        <pc:spChg chg="del">
          <ac:chgData name="Isabelle LEBO" userId="S::ma4349@bpifrance.fr::f1c985e3-394e-48e8-9a67-d1528b48b78a" providerId="AD" clId="Web-{73E45E6C-C09C-4093-85A8-FD5FA5810895}" dt="2023-03-03T13:43:29.590" v="14"/>
          <ac:spMkLst>
            <pc:docMk/>
            <pc:sldMk cId="1764931548" sldId="3946"/>
            <ac:spMk id="18" creationId="{95F83F8C-BE12-4988-BA64-7C9424236741}"/>
          </ac:spMkLst>
        </pc:spChg>
        <pc:spChg chg="del">
          <ac:chgData name="Isabelle LEBO" userId="S::ma4349@bpifrance.fr::f1c985e3-394e-48e8-9a67-d1528b48b78a" providerId="AD" clId="Web-{73E45E6C-C09C-4093-85A8-FD5FA5810895}" dt="2023-03-03T13:43:07.027" v="9"/>
          <ac:spMkLst>
            <pc:docMk/>
            <pc:sldMk cId="1764931548" sldId="3946"/>
            <ac:spMk id="19" creationId="{D1498EB0-93C6-41CF-A3D5-3CCCCDED7AAE}"/>
          </ac:spMkLst>
        </pc:spChg>
        <pc:spChg chg="mod">
          <ac:chgData name="Isabelle LEBO" userId="S::ma4349@bpifrance.fr::f1c985e3-394e-48e8-9a67-d1528b48b78a" providerId="AD" clId="Web-{73E45E6C-C09C-4093-85A8-FD5FA5810895}" dt="2023-03-03T13:47:19.707" v="54" actId="1076"/>
          <ac:spMkLst>
            <pc:docMk/>
            <pc:sldMk cId="1764931548" sldId="3946"/>
            <ac:spMk id="23" creationId="{773B80ED-7ACC-43C5-95FC-ECE21AB37EC6}"/>
          </ac:spMkLst>
        </pc:spChg>
        <pc:spChg chg="mod">
          <ac:chgData name="Isabelle LEBO" userId="S::ma4349@bpifrance.fr::f1c985e3-394e-48e8-9a67-d1528b48b78a" providerId="AD" clId="Web-{73E45E6C-C09C-4093-85A8-FD5FA5810895}" dt="2023-03-03T13:48:17.521" v="61" actId="1076"/>
          <ac:spMkLst>
            <pc:docMk/>
            <pc:sldMk cId="1764931548" sldId="3946"/>
            <ac:spMk id="24" creationId="{B667BC30-4290-46FE-91CA-5B3FC4F7599F}"/>
          </ac:spMkLst>
        </pc:spChg>
        <pc:spChg chg="mod">
          <ac:chgData name="Isabelle LEBO" userId="S::ma4349@bpifrance.fr::f1c985e3-394e-48e8-9a67-d1528b48b78a" providerId="AD" clId="Web-{73E45E6C-C09C-4093-85A8-FD5FA5810895}" dt="2023-03-03T13:47:16.988" v="51" actId="1076"/>
          <ac:spMkLst>
            <pc:docMk/>
            <pc:sldMk cId="1764931548" sldId="3946"/>
            <ac:spMk id="25" creationId="{1D48669F-D66C-49C8-BD69-D7933CC54755}"/>
          </ac:spMkLst>
        </pc:spChg>
        <pc:spChg chg="mod">
          <ac:chgData name="Isabelle LEBO" userId="S::ma4349@bpifrance.fr::f1c985e3-394e-48e8-9a67-d1528b48b78a" providerId="AD" clId="Web-{73E45E6C-C09C-4093-85A8-FD5FA5810895}" dt="2023-03-03T13:47:16.254" v="50" actId="1076"/>
          <ac:spMkLst>
            <pc:docMk/>
            <pc:sldMk cId="1764931548" sldId="3946"/>
            <ac:spMk id="26" creationId="{2AA6BE01-08BF-4D16-96BF-E3AA473DC9A9}"/>
          </ac:spMkLst>
        </pc:spChg>
        <pc:picChg chg="add mod">
          <ac:chgData name="Isabelle LEBO" userId="S::ma4349@bpifrance.fr::f1c985e3-394e-48e8-9a67-d1528b48b78a" providerId="AD" clId="Web-{73E45E6C-C09C-4093-85A8-FD5FA5810895}" dt="2023-03-03T13:47:17.707" v="52" actId="1076"/>
          <ac:picMkLst>
            <pc:docMk/>
            <pc:sldMk cId="1764931548" sldId="3946"/>
            <ac:picMk id="3" creationId="{7D1D6205-EC7B-76D3-18C5-3C5CAC003A68}"/>
          </ac:picMkLst>
        </pc:picChg>
        <pc:picChg chg="add del mod">
          <ac:chgData name="Isabelle LEBO" userId="S::ma4349@bpifrance.fr::f1c985e3-394e-48e8-9a67-d1528b48b78a" providerId="AD" clId="Web-{73E45E6C-C09C-4093-85A8-FD5FA5810895}" dt="2023-03-03T13:48:25.412" v="62" actId="1076"/>
          <ac:picMkLst>
            <pc:docMk/>
            <pc:sldMk cId="1764931548" sldId="3946"/>
            <ac:picMk id="5" creationId="{59F4019A-5FB5-B36D-3281-B593FDB15BAD}"/>
          </ac:picMkLst>
        </pc:picChg>
        <pc:picChg chg="add mod">
          <ac:chgData name="Isabelle LEBO" userId="S::ma4349@bpifrance.fr::f1c985e3-394e-48e8-9a67-d1528b48b78a" providerId="AD" clId="Web-{73E45E6C-C09C-4093-85A8-FD5FA5810895}" dt="2023-03-03T14:04:47.161" v="114"/>
          <ac:picMkLst>
            <pc:docMk/>
            <pc:sldMk cId="1764931548" sldId="3946"/>
            <ac:picMk id="6" creationId="{B88ADA17-3F49-50C7-7EE2-50F9606BFCF6}"/>
          </ac:picMkLst>
        </pc:picChg>
        <pc:cxnChg chg="del">
          <ac:chgData name="Isabelle LEBO" userId="S::ma4349@bpifrance.fr::f1c985e3-394e-48e8-9a67-d1528b48b78a" providerId="AD" clId="Web-{73E45E6C-C09C-4093-85A8-FD5FA5810895}" dt="2023-03-03T13:43:19.590" v="11"/>
          <ac:cxnSpMkLst>
            <pc:docMk/>
            <pc:sldMk cId="1764931548" sldId="3946"/>
            <ac:cxnSpMk id="31" creationId="{2E1C74E9-53BE-492D-9B5D-56698C98BD5F}"/>
          </ac:cxnSpMkLst>
        </pc:cxnChg>
        <pc:cxnChg chg="del">
          <ac:chgData name="Isabelle LEBO" userId="S::ma4349@bpifrance.fr::f1c985e3-394e-48e8-9a67-d1528b48b78a" providerId="AD" clId="Web-{73E45E6C-C09C-4093-85A8-FD5FA5810895}" dt="2023-03-03T13:43:22.637" v="12"/>
          <ac:cxnSpMkLst>
            <pc:docMk/>
            <pc:sldMk cId="1764931548" sldId="3946"/>
            <ac:cxnSpMk id="32" creationId="{33DAF20A-06F5-4441-8B98-E96306F9177D}"/>
          </ac:cxnSpMkLst>
        </pc:cxnChg>
        <pc:cxnChg chg="del">
          <ac:chgData name="Isabelle LEBO" userId="S::ma4349@bpifrance.fr::f1c985e3-394e-48e8-9a67-d1528b48b78a" providerId="AD" clId="Web-{73E45E6C-C09C-4093-85A8-FD5FA5810895}" dt="2023-03-03T13:43:25.434" v="13"/>
          <ac:cxnSpMkLst>
            <pc:docMk/>
            <pc:sldMk cId="1764931548" sldId="3946"/>
            <ac:cxnSpMk id="33" creationId="{2C3469E6-9317-4CF1-99B8-24CF8AE57BB7}"/>
          </ac:cxnSpMkLst>
        </pc:cxnChg>
      </pc:sldChg>
      <pc:sldChg chg="new del">
        <pc:chgData name="Isabelle LEBO" userId="S::ma4349@bpifrance.fr::f1c985e3-394e-48e8-9a67-d1528b48b78a" providerId="AD" clId="Web-{73E45E6C-C09C-4093-85A8-FD5FA5810895}" dt="2023-03-03T14:35:52.688" v="263"/>
        <pc:sldMkLst>
          <pc:docMk/>
          <pc:sldMk cId="206843170" sldId="3947"/>
        </pc:sldMkLst>
      </pc:sldChg>
      <pc:sldChg chg="addSp delSp modSp new">
        <pc:chgData name="Isabelle LEBO" userId="S::ma4349@bpifrance.fr::f1c985e3-394e-48e8-9a67-d1528b48b78a" providerId="AD" clId="Web-{73E45E6C-C09C-4093-85A8-FD5FA5810895}" dt="2023-03-03T14:45:41.035" v="327" actId="20577"/>
        <pc:sldMkLst>
          <pc:docMk/>
          <pc:sldMk cId="2550075578" sldId="3948"/>
        </pc:sldMkLst>
        <pc:spChg chg="del">
          <ac:chgData name="Isabelle LEBO" userId="S::ma4349@bpifrance.fr::f1c985e3-394e-48e8-9a67-d1528b48b78a" providerId="AD" clId="Web-{73E45E6C-C09C-4093-85A8-FD5FA5810895}" dt="2023-03-03T14:26:45.968" v="186"/>
          <ac:spMkLst>
            <pc:docMk/>
            <pc:sldMk cId="2550075578" sldId="3948"/>
            <ac:spMk id="4" creationId="{8EA80644-8877-0F91-0ACE-083624EA36A9}"/>
          </ac:spMkLst>
        </pc:spChg>
        <pc:spChg chg="del">
          <ac:chgData name="Isabelle LEBO" userId="S::ma4349@bpifrance.fr::f1c985e3-394e-48e8-9a67-d1528b48b78a" providerId="AD" clId="Web-{73E45E6C-C09C-4093-85A8-FD5FA5810895}" dt="2023-03-03T14:02:53.814" v="108"/>
          <ac:spMkLst>
            <pc:docMk/>
            <pc:sldMk cId="2550075578" sldId="3948"/>
            <ac:spMk id="5" creationId="{DF49A332-2CFA-4EB7-9FDD-34C6F8E76FFE}"/>
          </ac:spMkLst>
        </pc:spChg>
        <pc:spChg chg="add del mod">
          <ac:chgData name="Isabelle LEBO" userId="S::ma4349@bpifrance.fr::f1c985e3-394e-48e8-9a67-d1528b48b78a" providerId="AD" clId="Web-{73E45E6C-C09C-4093-85A8-FD5FA5810895}" dt="2023-03-03T14:45:41.035" v="327" actId="20577"/>
          <ac:spMkLst>
            <pc:docMk/>
            <pc:sldMk cId="2550075578" sldId="3948"/>
            <ac:spMk id="9" creationId="{CDBD9D14-7668-27AF-24F2-B9E0C4D4813E}"/>
          </ac:spMkLst>
        </pc:spChg>
        <pc:picChg chg="add mod">
          <ac:chgData name="Isabelle LEBO" userId="S::ma4349@bpifrance.fr::f1c985e3-394e-48e8-9a67-d1528b48b78a" providerId="AD" clId="Web-{73E45E6C-C09C-4093-85A8-FD5FA5810895}" dt="2023-03-03T14:03:21.127" v="113" actId="14100"/>
          <ac:picMkLst>
            <pc:docMk/>
            <pc:sldMk cId="2550075578" sldId="3948"/>
            <ac:picMk id="7" creationId="{92714F5F-2765-C12B-4BB5-32720A632156}"/>
          </ac:picMkLst>
        </pc:picChg>
      </pc:sldChg>
      <pc:sldChg chg="modSp add">
        <pc:chgData name="Isabelle LEBO" userId="S::ma4349@bpifrance.fr::f1c985e3-394e-48e8-9a67-d1528b48b78a" providerId="AD" clId="Web-{73E45E6C-C09C-4093-85A8-FD5FA5810895}" dt="2023-03-03T14:07:05.291" v="129" actId="20577"/>
        <pc:sldMkLst>
          <pc:docMk/>
          <pc:sldMk cId="1995238942" sldId="3949"/>
        </pc:sldMkLst>
        <pc:spChg chg="mod">
          <ac:chgData name="Isabelle LEBO" userId="S::ma4349@bpifrance.fr::f1c985e3-394e-48e8-9a67-d1528b48b78a" providerId="AD" clId="Web-{73E45E6C-C09C-4093-85A8-FD5FA5810895}" dt="2023-03-03T14:07:05.291" v="129" actId="20577"/>
          <ac:spMkLst>
            <pc:docMk/>
            <pc:sldMk cId="1995238942" sldId="3949"/>
            <ac:spMk id="36" creationId="{F7FE51EF-F819-43AD-A1D2-6404ED77E26F}"/>
          </ac:spMkLst>
        </pc:spChg>
      </pc:sldChg>
      <pc:sldChg chg="addSp delSp modSp new">
        <pc:chgData name="Isabelle LEBO" userId="S::ma4349@bpifrance.fr::f1c985e3-394e-48e8-9a67-d1528b48b78a" providerId="AD" clId="Web-{73E45E6C-C09C-4093-85A8-FD5FA5810895}" dt="2023-03-03T14:13:45.022" v="180" actId="14100"/>
        <pc:sldMkLst>
          <pc:docMk/>
          <pc:sldMk cId="2678454503" sldId="3950"/>
        </pc:sldMkLst>
        <pc:spChg chg="mod">
          <ac:chgData name="Isabelle LEBO" userId="S::ma4349@bpifrance.fr::f1c985e3-394e-48e8-9a67-d1528b48b78a" providerId="AD" clId="Web-{73E45E6C-C09C-4093-85A8-FD5FA5810895}" dt="2023-03-03T14:13:26.818" v="177" actId="1076"/>
          <ac:spMkLst>
            <pc:docMk/>
            <pc:sldMk cId="2678454503" sldId="3950"/>
            <ac:spMk id="4" creationId="{5BE01512-1974-EFB2-7567-AEBB2CCC9266}"/>
          </ac:spMkLst>
        </pc:spChg>
        <pc:spChg chg="del">
          <ac:chgData name="Isabelle LEBO" userId="S::ma4349@bpifrance.fr::f1c985e3-394e-48e8-9a67-d1528b48b78a" providerId="AD" clId="Web-{73E45E6C-C09C-4093-85A8-FD5FA5810895}" dt="2023-03-03T14:10:59.861" v="131"/>
          <ac:spMkLst>
            <pc:docMk/>
            <pc:sldMk cId="2678454503" sldId="3950"/>
            <ac:spMk id="5" creationId="{E270E08D-1C1F-3A85-75DD-D532C2748A10}"/>
          </ac:spMkLst>
        </pc:spChg>
        <pc:picChg chg="add mod">
          <ac:chgData name="Isabelle LEBO" userId="S::ma4349@bpifrance.fr::f1c985e3-394e-48e8-9a67-d1528b48b78a" providerId="AD" clId="Web-{73E45E6C-C09C-4093-85A8-FD5FA5810895}" dt="2023-03-03T14:13:45.022" v="180" actId="14100"/>
          <ac:picMkLst>
            <pc:docMk/>
            <pc:sldMk cId="2678454503" sldId="3950"/>
            <ac:picMk id="7" creationId="{61C6A18E-6FF5-FC1E-1A27-C930A40792D2}"/>
          </ac:picMkLst>
        </pc:picChg>
      </pc:sldChg>
      <pc:sldMasterChg chg="addSldLayout">
        <pc:chgData name="Isabelle LEBO" userId="S::ma4349@bpifrance.fr::f1c985e3-394e-48e8-9a67-d1528b48b78a" providerId="AD" clId="Web-{73E45E6C-C09C-4093-85A8-FD5FA5810895}" dt="2023-03-03T13:42:27.370" v="1"/>
        <pc:sldMasterMkLst>
          <pc:docMk/>
          <pc:sldMasterMk cId="0" sldId="2147483648"/>
        </pc:sldMasterMkLst>
        <pc:sldLayoutChg chg="add replId">
          <pc:chgData name="Isabelle LEBO" userId="S::ma4349@bpifrance.fr::f1c985e3-394e-48e8-9a67-d1528b48b78a" providerId="AD" clId="Web-{73E45E6C-C09C-4093-85A8-FD5FA5810895}" dt="2023-03-03T13:42:27.370" v="1"/>
          <pc:sldLayoutMkLst>
            <pc:docMk/>
            <pc:sldMasterMk cId="0" sldId="2147483648"/>
            <pc:sldLayoutMk cId="3474374832" sldId="2147483721"/>
          </pc:sldLayoutMkLst>
        </pc:sldLayoutChg>
      </pc:sldMasterChg>
    </pc:docChg>
  </pc:docChgLst>
  <pc:docChgLst>
    <pc:chgData name="Isabelle LEBO" userId="S::ma4349@bpifrance.fr::f1c985e3-394e-48e8-9a67-d1528b48b78a" providerId="AD" clId="Web-{95977F26-143E-463B-8B20-7BE73DE04C29}"/>
    <pc:docChg chg="delSld modSld">
      <pc:chgData name="Isabelle LEBO" userId="S::ma4349@bpifrance.fr::f1c985e3-394e-48e8-9a67-d1528b48b78a" providerId="AD" clId="Web-{95977F26-143E-463B-8B20-7BE73DE04C29}" dt="2023-03-12T11:59:41.286" v="109" actId="1076"/>
      <pc:docMkLst>
        <pc:docMk/>
      </pc:docMkLst>
      <pc:sldChg chg="modSp">
        <pc:chgData name="Isabelle LEBO" userId="S::ma4349@bpifrance.fr::f1c985e3-394e-48e8-9a67-d1528b48b78a" providerId="AD" clId="Web-{95977F26-143E-463B-8B20-7BE73DE04C29}" dt="2023-03-12T11:54:59.481" v="60" actId="1076"/>
        <pc:sldMkLst>
          <pc:docMk/>
          <pc:sldMk cId="274459055" sldId="356"/>
        </pc:sldMkLst>
        <pc:spChg chg="mod">
          <ac:chgData name="Isabelle LEBO" userId="S::ma4349@bpifrance.fr::f1c985e3-394e-48e8-9a67-d1528b48b78a" providerId="AD" clId="Web-{95977F26-143E-463B-8B20-7BE73DE04C29}" dt="2023-03-12T11:53:59.120" v="40" actId="1076"/>
          <ac:spMkLst>
            <pc:docMk/>
            <pc:sldMk cId="274459055" sldId="356"/>
            <ac:spMk id="6" creationId="{E7BC887F-329E-4C60-8513-5DE73A91CD51}"/>
          </ac:spMkLst>
        </pc:spChg>
        <pc:spChg chg="mod">
          <ac:chgData name="Isabelle LEBO" userId="S::ma4349@bpifrance.fr::f1c985e3-394e-48e8-9a67-d1528b48b78a" providerId="AD" clId="Web-{95977F26-143E-463B-8B20-7BE73DE04C29}" dt="2023-03-12T11:54:42.449" v="54" actId="1076"/>
          <ac:spMkLst>
            <pc:docMk/>
            <pc:sldMk cId="274459055" sldId="356"/>
            <ac:spMk id="8" creationId="{004A3CD6-16C5-8F6A-ECC7-47EAEEC639E0}"/>
          </ac:spMkLst>
        </pc:spChg>
        <pc:spChg chg="mod">
          <ac:chgData name="Isabelle LEBO" userId="S::ma4349@bpifrance.fr::f1c985e3-394e-48e8-9a67-d1528b48b78a" providerId="AD" clId="Web-{95977F26-143E-463B-8B20-7BE73DE04C29}" dt="2023-03-12T11:54:59.356" v="55" actId="1076"/>
          <ac:spMkLst>
            <pc:docMk/>
            <pc:sldMk cId="274459055" sldId="356"/>
            <ac:spMk id="21" creationId="{C654C100-E4EF-464B-9C6E-B6EAB107C032}"/>
          </ac:spMkLst>
        </pc:spChg>
        <pc:spChg chg="mod">
          <ac:chgData name="Isabelle LEBO" userId="S::ma4349@bpifrance.fr::f1c985e3-394e-48e8-9a67-d1528b48b78a" providerId="AD" clId="Web-{95977F26-143E-463B-8B20-7BE73DE04C29}" dt="2023-03-12T11:54:59.481" v="60" actId="1076"/>
          <ac:spMkLst>
            <pc:docMk/>
            <pc:sldMk cId="274459055" sldId="356"/>
            <ac:spMk id="45" creationId="{FC98FE03-26E2-418B-832A-6802E5053658}"/>
          </ac:spMkLst>
        </pc:spChg>
        <pc:grpChg chg="mod">
          <ac:chgData name="Isabelle LEBO" userId="S::ma4349@bpifrance.fr::f1c985e3-394e-48e8-9a67-d1528b48b78a" providerId="AD" clId="Web-{95977F26-143E-463B-8B20-7BE73DE04C29}" dt="2023-03-12T11:54:59.465" v="59" actId="1076"/>
          <ac:grpSpMkLst>
            <pc:docMk/>
            <pc:sldMk cId="274459055" sldId="356"/>
            <ac:grpSpMk id="2" creationId="{D4620196-D6C9-4998-ADA6-8EC786597C2F}"/>
          </ac:grpSpMkLst>
        </pc:grpChg>
        <pc:grpChg chg="mod">
          <ac:chgData name="Isabelle LEBO" userId="S::ma4349@bpifrance.fr::f1c985e3-394e-48e8-9a67-d1528b48b78a" providerId="AD" clId="Web-{95977F26-143E-463B-8B20-7BE73DE04C29}" dt="2023-03-12T11:54:59.419" v="57" actId="1076"/>
          <ac:grpSpMkLst>
            <pc:docMk/>
            <pc:sldMk cId="274459055" sldId="356"/>
            <ac:grpSpMk id="3" creationId="{C654F5D6-C263-40F0-9AA8-5C9612930086}"/>
          </ac:grpSpMkLst>
        </pc:grpChg>
        <pc:grpChg chg="mod">
          <ac:chgData name="Isabelle LEBO" userId="S::ma4349@bpifrance.fr::f1c985e3-394e-48e8-9a67-d1528b48b78a" providerId="AD" clId="Web-{95977F26-143E-463B-8B20-7BE73DE04C29}" dt="2023-03-12T11:54:59.387" v="56" actId="1076"/>
          <ac:grpSpMkLst>
            <pc:docMk/>
            <pc:sldMk cId="274459055" sldId="356"/>
            <ac:grpSpMk id="4" creationId="{D2E84A61-BF46-412F-956D-98EE336E54A9}"/>
          </ac:grpSpMkLst>
        </pc:grpChg>
        <pc:grpChg chg="mod">
          <ac:chgData name="Isabelle LEBO" userId="S::ma4349@bpifrance.fr::f1c985e3-394e-48e8-9a67-d1528b48b78a" providerId="AD" clId="Web-{95977F26-143E-463B-8B20-7BE73DE04C29}" dt="2023-03-12T11:54:59.434" v="58" actId="1076"/>
          <ac:grpSpMkLst>
            <pc:docMk/>
            <pc:sldMk cId="274459055" sldId="356"/>
            <ac:grpSpMk id="5" creationId="{7E781D2B-14DE-414C-9B3E-2ADFDEEC5D71}"/>
          </ac:grpSpMkLst>
        </pc:grpChg>
      </pc:sldChg>
      <pc:sldChg chg="modSp">
        <pc:chgData name="Isabelle LEBO" userId="S::ma4349@bpifrance.fr::f1c985e3-394e-48e8-9a67-d1528b48b78a" providerId="AD" clId="Web-{95977F26-143E-463B-8B20-7BE73DE04C29}" dt="2023-03-12T11:58:52.410" v="106" actId="1076"/>
        <pc:sldMkLst>
          <pc:docMk/>
          <pc:sldMk cId="3123742323" sldId="359"/>
        </pc:sldMkLst>
        <pc:spChg chg="mod">
          <ac:chgData name="Isabelle LEBO" userId="S::ma4349@bpifrance.fr::f1c985e3-394e-48e8-9a67-d1528b48b78a" providerId="AD" clId="Web-{95977F26-143E-463B-8B20-7BE73DE04C29}" dt="2023-03-12T11:58:52.410" v="106" actId="1076"/>
          <ac:spMkLst>
            <pc:docMk/>
            <pc:sldMk cId="3123742323" sldId="359"/>
            <ac:spMk id="4" creationId="{63788AFE-8751-3DD4-D85A-C8DC9ADAB198}"/>
          </ac:spMkLst>
        </pc:spChg>
        <pc:spChg chg="mod">
          <ac:chgData name="Isabelle LEBO" userId="S::ma4349@bpifrance.fr::f1c985e3-394e-48e8-9a67-d1528b48b78a" providerId="AD" clId="Web-{95977F26-143E-463B-8B20-7BE73DE04C29}" dt="2023-03-12T11:55:39.873" v="65" actId="1076"/>
          <ac:spMkLst>
            <pc:docMk/>
            <pc:sldMk cId="3123742323" sldId="359"/>
            <ac:spMk id="9" creationId="{E78EBD05-8663-4CD9-9750-B41CBECF705A}"/>
          </ac:spMkLst>
        </pc:spChg>
        <pc:spChg chg="mod">
          <ac:chgData name="Isabelle LEBO" userId="S::ma4349@bpifrance.fr::f1c985e3-394e-48e8-9a67-d1528b48b78a" providerId="AD" clId="Web-{95977F26-143E-463B-8B20-7BE73DE04C29}" dt="2023-03-12T11:55:31.529" v="64" actId="20577"/>
          <ac:spMkLst>
            <pc:docMk/>
            <pc:sldMk cId="3123742323" sldId="359"/>
            <ac:spMk id="12" creationId="{9C7726F7-CB10-4FFB-9C95-4CF7F14B681A}"/>
          </ac:spMkLst>
        </pc:spChg>
        <pc:spChg chg="mod">
          <ac:chgData name="Isabelle LEBO" userId="S::ma4349@bpifrance.fr::f1c985e3-394e-48e8-9a67-d1528b48b78a" providerId="AD" clId="Web-{95977F26-143E-463B-8B20-7BE73DE04C29}" dt="2023-03-12T11:58:17.721" v="103" actId="20577"/>
          <ac:spMkLst>
            <pc:docMk/>
            <pc:sldMk cId="3123742323" sldId="359"/>
            <ac:spMk id="26" creationId="{3755758A-4230-4EFA-83AE-438A2593B998}"/>
          </ac:spMkLst>
        </pc:spChg>
      </pc:sldChg>
      <pc:sldChg chg="modSp">
        <pc:chgData name="Isabelle LEBO" userId="S::ma4349@bpifrance.fr::f1c985e3-394e-48e8-9a67-d1528b48b78a" providerId="AD" clId="Web-{95977F26-143E-463B-8B20-7BE73DE04C29}" dt="2023-03-12T11:59:41.286" v="109" actId="1076"/>
        <pc:sldMkLst>
          <pc:docMk/>
          <pc:sldMk cId="294211617" sldId="360"/>
        </pc:sldMkLst>
        <pc:spChg chg="mod">
          <ac:chgData name="Isabelle LEBO" userId="S::ma4349@bpifrance.fr::f1c985e3-394e-48e8-9a67-d1528b48b78a" providerId="AD" clId="Web-{95977F26-143E-463B-8B20-7BE73DE04C29}" dt="2023-03-12T11:59:25.067" v="108" actId="20577"/>
          <ac:spMkLst>
            <pc:docMk/>
            <pc:sldMk cId="294211617" sldId="360"/>
            <ac:spMk id="13" creationId="{4E616770-EEDC-3230-E0A7-8BEBEEB23CF2}"/>
          </ac:spMkLst>
        </pc:spChg>
        <pc:spChg chg="mod">
          <ac:chgData name="Isabelle LEBO" userId="S::ma4349@bpifrance.fr::f1c985e3-394e-48e8-9a67-d1528b48b78a" providerId="AD" clId="Web-{95977F26-143E-463B-8B20-7BE73DE04C29}" dt="2023-03-12T11:59:41.286" v="109" actId="1076"/>
          <ac:spMkLst>
            <pc:docMk/>
            <pc:sldMk cId="294211617" sldId="360"/>
            <ac:spMk id="15" creationId="{EE036BFC-073D-6219-2AE0-47645CA4D3C0}"/>
          </ac:spMkLst>
        </pc:spChg>
      </pc:sldChg>
      <pc:sldChg chg="modSp">
        <pc:chgData name="Isabelle LEBO" userId="S::ma4349@bpifrance.fr::f1c985e3-394e-48e8-9a67-d1528b48b78a" providerId="AD" clId="Web-{95977F26-143E-463B-8B20-7BE73DE04C29}" dt="2023-03-12T11:52:01.663" v="24" actId="20577"/>
        <pc:sldMkLst>
          <pc:docMk/>
          <pc:sldMk cId="245274946" sldId="1580"/>
        </pc:sldMkLst>
        <pc:spChg chg="mod">
          <ac:chgData name="Isabelle LEBO" userId="S::ma4349@bpifrance.fr::f1c985e3-394e-48e8-9a67-d1528b48b78a" providerId="AD" clId="Web-{95977F26-143E-463B-8B20-7BE73DE04C29}" dt="2023-03-12T11:52:01.663" v="24" actId="20577"/>
          <ac:spMkLst>
            <pc:docMk/>
            <pc:sldMk cId="245274946" sldId="1580"/>
            <ac:spMk id="7" creationId="{FE052E61-3FC5-4545-82FA-0AD7AD24DCF8}"/>
          </ac:spMkLst>
        </pc:spChg>
      </pc:sldChg>
      <pc:sldChg chg="del">
        <pc:chgData name="Isabelle LEBO" userId="S::ma4349@bpifrance.fr::f1c985e3-394e-48e8-9a67-d1528b48b78a" providerId="AD" clId="Web-{95977F26-143E-463B-8B20-7BE73DE04C29}" dt="2023-03-12T11:52:03.382" v="25"/>
        <pc:sldMkLst>
          <pc:docMk/>
          <pc:sldMk cId="4088286712" sldId="1581"/>
        </pc:sldMkLst>
      </pc:sldChg>
      <pc:sldChg chg="modSp">
        <pc:chgData name="Isabelle LEBO" userId="S::ma4349@bpifrance.fr::f1c985e3-394e-48e8-9a67-d1528b48b78a" providerId="AD" clId="Web-{95977F26-143E-463B-8B20-7BE73DE04C29}" dt="2023-03-12T11:53:18.853" v="33" actId="20577"/>
        <pc:sldMkLst>
          <pc:docMk/>
          <pc:sldMk cId="1394747852" sldId="1596"/>
        </pc:sldMkLst>
        <pc:spChg chg="mod">
          <ac:chgData name="Isabelle LEBO" userId="S::ma4349@bpifrance.fr::f1c985e3-394e-48e8-9a67-d1528b48b78a" providerId="AD" clId="Web-{95977F26-143E-463B-8B20-7BE73DE04C29}" dt="2023-03-12T11:53:18.853" v="33" actId="20577"/>
          <ac:spMkLst>
            <pc:docMk/>
            <pc:sldMk cId="1394747852" sldId="1596"/>
            <ac:spMk id="8" creationId="{A1587FFC-FF80-A442-C2CD-DBB90E35C2FE}"/>
          </ac:spMkLst>
        </pc:spChg>
      </pc:sldChg>
    </pc:docChg>
  </pc:docChgLst>
  <pc:docChgLst>
    <pc:chgData name="Virginie PONCET" userId="ebcd993a-a2ce-4546-82a8-b8fa2d7b77e1" providerId="ADAL" clId="{E5B7E8CE-123C-4CA0-9A8C-CD46EC48866B}"/>
    <pc:docChg chg="undo custSel addSld delSld modSld sldOrd delMainMaster modMainMaster modNotesMaster">
      <pc:chgData name="Virginie PONCET" userId="ebcd993a-a2ce-4546-82a8-b8fa2d7b77e1" providerId="ADAL" clId="{E5B7E8CE-123C-4CA0-9A8C-CD46EC48866B}" dt="2023-10-20T07:39:56.742" v="1969" actId="47"/>
      <pc:docMkLst>
        <pc:docMk/>
      </pc:docMkLst>
      <pc:sldChg chg="addSp delSp modSp del mod">
        <pc:chgData name="Virginie PONCET" userId="ebcd993a-a2ce-4546-82a8-b8fa2d7b77e1" providerId="ADAL" clId="{E5B7E8CE-123C-4CA0-9A8C-CD46EC48866B}" dt="2023-10-20T07:34:57.751" v="1766" actId="47"/>
        <pc:sldMkLst>
          <pc:docMk/>
          <pc:sldMk cId="0" sldId="256"/>
        </pc:sldMkLst>
        <pc:spChg chg="del mod">
          <ac:chgData name="Virginie PONCET" userId="ebcd993a-a2ce-4546-82a8-b8fa2d7b77e1" providerId="ADAL" clId="{E5B7E8CE-123C-4CA0-9A8C-CD46EC48866B}" dt="2023-10-20T07:06:12.108" v="703" actId="478"/>
          <ac:spMkLst>
            <pc:docMk/>
            <pc:sldMk cId="0" sldId="256"/>
            <ac:spMk id="2" creationId="{00000000-0000-0000-0000-000000000000}"/>
          </ac:spMkLst>
        </pc:spChg>
        <pc:spChg chg="del mod">
          <ac:chgData name="Virginie PONCET" userId="ebcd993a-a2ce-4546-82a8-b8fa2d7b77e1" providerId="ADAL" clId="{E5B7E8CE-123C-4CA0-9A8C-CD46EC48866B}" dt="2023-10-20T07:06:12.108" v="703" actId="478"/>
          <ac:spMkLst>
            <pc:docMk/>
            <pc:sldMk cId="0" sldId="256"/>
            <ac:spMk id="3" creationId="{00000000-0000-0000-0000-000000000000}"/>
          </ac:spMkLst>
        </pc:spChg>
        <pc:spChg chg="del mod">
          <ac:chgData name="Virginie PONCET" userId="ebcd993a-a2ce-4546-82a8-b8fa2d7b77e1" providerId="ADAL" clId="{E5B7E8CE-123C-4CA0-9A8C-CD46EC48866B}" dt="2023-10-20T07:05:14.790" v="697" actId="478"/>
          <ac:spMkLst>
            <pc:docMk/>
            <pc:sldMk cId="0" sldId="256"/>
            <ac:spMk id="4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6"/>
            <ac:spMk id="6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6"/>
            <ac:spMk id="7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6"/>
            <ac:spMk id="8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7:34.718" v="775" actId="20577"/>
          <ac:spMkLst>
            <pc:docMk/>
            <pc:sldMk cId="0" sldId="256"/>
            <ac:spMk id="9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6"/>
            <ac:spMk id="11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6"/>
            <ac:spMk id="1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6"/>
            <ac:spMk id="1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6"/>
            <ac:spMk id="14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6"/>
            <ac:spMk id="15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6"/>
            <ac:spMk id="16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6"/>
            <ac:spMk id="17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6"/>
            <ac:spMk id="18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6"/>
            <ac:spMk id="20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6"/>
            <ac:spMk id="21" creationId="{00000000-0000-0000-0000-000000000000}"/>
          </ac:spMkLst>
        </pc:spChg>
        <pc:spChg chg="del mod">
          <ac:chgData name="Virginie PONCET" userId="ebcd993a-a2ce-4546-82a8-b8fa2d7b77e1" providerId="ADAL" clId="{E5B7E8CE-123C-4CA0-9A8C-CD46EC48866B}" dt="2023-10-20T07:05:14.790" v="697" actId="478"/>
          <ac:spMkLst>
            <pc:docMk/>
            <pc:sldMk cId="0" sldId="256"/>
            <ac:spMk id="22" creationId="{00000000-0000-0000-0000-000000000000}"/>
          </ac:spMkLst>
        </pc:spChg>
        <pc:spChg chg="del mod">
          <ac:chgData name="Virginie PONCET" userId="ebcd993a-a2ce-4546-82a8-b8fa2d7b77e1" providerId="ADAL" clId="{E5B7E8CE-123C-4CA0-9A8C-CD46EC48866B}" dt="2023-10-20T07:05:14.790" v="697" actId="478"/>
          <ac:spMkLst>
            <pc:docMk/>
            <pc:sldMk cId="0" sldId="256"/>
            <ac:spMk id="23" creationId="{00000000-0000-0000-0000-000000000000}"/>
          </ac:spMkLst>
        </pc:spChg>
        <pc:spChg chg="del mod">
          <ac:chgData name="Virginie PONCET" userId="ebcd993a-a2ce-4546-82a8-b8fa2d7b77e1" providerId="ADAL" clId="{E5B7E8CE-123C-4CA0-9A8C-CD46EC48866B}" dt="2023-10-20T07:05:14.790" v="697" actId="478"/>
          <ac:spMkLst>
            <pc:docMk/>
            <pc:sldMk cId="0" sldId="256"/>
            <ac:spMk id="24" creationId="{00000000-0000-0000-0000-000000000000}"/>
          </ac:spMkLst>
        </pc:spChg>
        <pc:spChg chg="del mod">
          <ac:chgData name="Virginie PONCET" userId="ebcd993a-a2ce-4546-82a8-b8fa2d7b77e1" providerId="ADAL" clId="{E5B7E8CE-123C-4CA0-9A8C-CD46EC48866B}" dt="2023-10-20T07:05:14.790" v="697" actId="478"/>
          <ac:spMkLst>
            <pc:docMk/>
            <pc:sldMk cId="0" sldId="256"/>
            <ac:spMk id="25" creationId="{00000000-0000-0000-0000-000000000000}"/>
          </ac:spMkLst>
        </pc:spChg>
        <pc:spChg chg="del mod">
          <ac:chgData name="Virginie PONCET" userId="ebcd993a-a2ce-4546-82a8-b8fa2d7b77e1" providerId="ADAL" clId="{E5B7E8CE-123C-4CA0-9A8C-CD46EC48866B}" dt="2023-10-20T07:05:14.790" v="697" actId="478"/>
          <ac:spMkLst>
            <pc:docMk/>
            <pc:sldMk cId="0" sldId="256"/>
            <ac:spMk id="26" creationId="{00000000-0000-0000-0000-000000000000}"/>
          </ac:spMkLst>
        </pc:spChg>
        <pc:spChg chg="del mod">
          <ac:chgData name="Virginie PONCET" userId="ebcd993a-a2ce-4546-82a8-b8fa2d7b77e1" providerId="ADAL" clId="{E5B7E8CE-123C-4CA0-9A8C-CD46EC48866B}" dt="2023-10-20T07:05:14.790" v="697" actId="478"/>
          <ac:spMkLst>
            <pc:docMk/>
            <pc:sldMk cId="0" sldId="256"/>
            <ac:spMk id="27" creationId="{00000000-0000-0000-0000-000000000000}"/>
          </ac:spMkLst>
        </pc:spChg>
        <pc:spChg chg="del mod">
          <ac:chgData name="Virginie PONCET" userId="ebcd993a-a2ce-4546-82a8-b8fa2d7b77e1" providerId="ADAL" clId="{E5B7E8CE-123C-4CA0-9A8C-CD46EC48866B}" dt="2023-10-20T07:05:14.790" v="697" actId="478"/>
          <ac:spMkLst>
            <pc:docMk/>
            <pc:sldMk cId="0" sldId="256"/>
            <ac:spMk id="28" creationId="{00000000-0000-0000-0000-000000000000}"/>
          </ac:spMkLst>
        </pc:spChg>
        <pc:spChg chg="del mod">
          <ac:chgData name="Virginie PONCET" userId="ebcd993a-a2ce-4546-82a8-b8fa2d7b77e1" providerId="ADAL" clId="{E5B7E8CE-123C-4CA0-9A8C-CD46EC48866B}" dt="2023-10-20T07:05:14.790" v="697" actId="478"/>
          <ac:spMkLst>
            <pc:docMk/>
            <pc:sldMk cId="0" sldId="256"/>
            <ac:spMk id="29" creationId="{00000000-0000-0000-0000-000000000000}"/>
          </ac:spMkLst>
        </pc:spChg>
        <pc:spChg chg="del mod">
          <ac:chgData name="Virginie PONCET" userId="ebcd993a-a2ce-4546-82a8-b8fa2d7b77e1" providerId="ADAL" clId="{E5B7E8CE-123C-4CA0-9A8C-CD46EC48866B}" dt="2023-10-20T07:06:28.589" v="707" actId="478"/>
          <ac:spMkLst>
            <pc:docMk/>
            <pc:sldMk cId="0" sldId="256"/>
            <ac:spMk id="31" creationId="{00000000-0000-0000-0000-000000000000}"/>
          </ac:spMkLst>
        </pc:spChg>
        <pc:spChg chg="del mod topLvl">
          <ac:chgData name="Virginie PONCET" userId="ebcd993a-a2ce-4546-82a8-b8fa2d7b77e1" providerId="ADAL" clId="{E5B7E8CE-123C-4CA0-9A8C-CD46EC48866B}" dt="2023-10-20T07:06:34.055" v="708" actId="478"/>
          <ac:spMkLst>
            <pc:docMk/>
            <pc:sldMk cId="0" sldId="256"/>
            <ac:spMk id="32" creationId="{00000000-0000-0000-0000-000000000000}"/>
          </ac:spMkLst>
        </pc:spChg>
        <pc:spChg chg="del mod topLvl">
          <ac:chgData name="Virginie PONCET" userId="ebcd993a-a2ce-4546-82a8-b8fa2d7b77e1" providerId="ADAL" clId="{E5B7E8CE-123C-4CA0-9A8C-CD46EC48866B}" dt="2023-10-20T07:10:01.362" v="927" actId="478"/>
          <ac:spMkLst>
            <pc:docMk/>
            <pc:sldMk cId="0" sldId="256"/>
            <ac:spMk id="33" creationId="{00000000-0000-0000-0000-000000000000}"/>
          </ac:spMkLst>
        </pc:spChg>
        <pc:spChg chg="del mod">
          <ac:chgData name="Virginie PONCET" userId="ebcd993a-a2ce-4546-82a8-b8fa2d7b77e1" providerId="ADAL" clId="{E5B7E8CE-123C-4CA0-9A8C-CD46EC48866B}" dt="2023-10-20T07:11:26.931" v="933"/>
          <ac:spMkLst>
            <pc:docMk/>
            <pc:sldMk cId="0" sldId="256"/>
            <ac:spMk id="34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13:04.705" v="945" actId="255"/>
          <ac:spMkLst>
            <pc:docMk/>
            <pc:sldMk cId="0" sldId="256"/>
            <ac:spMk id="35" creationId="{00000000-0000-0000-0000-000000000000}"/>
          </ac:spMkLst>
        </pc:spChg>
        <pc:spChg chg="del mod">
          <ac:chgData name="Virginie PONCET" userId="ebcd993a-a2ce-4546-82a8-b8fa2d7b77e1" providerId="ADAL" clId="{E5B7E8CE-123C-4CA0-9A8C-CD46EC48866B}" dt="2023-10-20T07:05:14.790" v="697" actId="478"/>
          <ac:spMkLst>
            <pc:docMk/>
            <pc:sldMk cId="0" sldId="256"/>
            <ac:spMk id="36" creationId="{00000000-0000-0000-0000-000000000000}"/>
          </ac:spMkLst>
        </pc:spChg>
        <pc:spChg chg="del mod">
          <ac:chgData name="Virginie PONCET" userId="ebcd993a-a2ce-4546-82a8-b8fa2d7b77e1" providerId="ADAL" clId="{E5B7E8CE-123C-4CA0-9A8C-CD46EC48866B}" dt="2023-10-20T07:05:14.790" v="697" actId="478"/>
          <ac:spMkLst>
            <pc:docMk/>
            <pc:sldMk cId="0" sldId="256"/>
            <ac:spMk id="37" creationId="{00000000-0000-0000-0000-000000000000}"/>
          </ac:spMkLst>
        </pc:spChg>
        <pc:spChg chg="del mod">
          <ac:chgData name="Virginie PONCET" userId="ebcd993a-a2ce-4546-82a8-b8fa2d7b77e1" providerId="ADAL" clId="{E5B7E8CE-123C-4CA0-9A8C-CD46EC48866B}" dt="2023-10-20T07:05:14.790" v="697" actId="478"/>
          <ac:spMkLst>
            <pc:docMk/>
            <pc:sldMk cId="0" sldId="256"/>
            <ac:spMk id="38" creationId="{00000000-0000-0000-0000-000000000000}"/>
          </ac:spMkLst>
        </pc:spChg>
        <pc:spChg chg="del mod">
          <ac:chgData name="Virginie PONCET" userId="ebcd993a-a2ce-4546-82a8-b8fa2d7b77e1" providerId="ADAL" clId="{E5B7E8CE-123C-4CA0-9A8C-CD46EC48866B}" dt="2023-10-20T07:05:14.790" v="697" actId="478"/>
          <ac:spMkLst>
            <pc:docMk/>
            <pc:sldMk cId="0" sldId="256"/>
            <ac:spMk id="39" creationId="{00000000-0000-0000-0000-000000000000}"/>
          </ac:spMkLst>
        </pc:spChg>
        <pc:spChg chg="del mod">
          <ac:chgData name="Virginie PONCET" userId="ebcd993a-a2ce-4546-82a8-b8fa2d7b77e1" providerId="ADAL" clId="{E5B7E8CE-123C-4CA0-9A8C-CD46EC48866B}" dt="2023-10-20T07:05:14.790" v="697" actId="478"/>
          <ac:spMkLst>
            <pc:docMk/>
            <pc:sldMk cId="0" sldId="256"/>
            <ac:spMk id="40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6"/>
            <ac:spMk id="4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6"/>
            <ac:spMk id="4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6"/>
            <ac:spMk id="44" creationId="{00000000-0000-0000-0000-000000000000}"/>
          </ac:spMkLst>
        </pc:spChg>
        <pc:spChg chg="del mod">
          <ac:chgData name="Virginie PONCET" userId="ebcd993a-a2ce-4546-82a8-b8fa2d7b77e1" providerId="ADAL" clId="{E5B7E8CE-123C-4CA0-9A8C-CD46EC48866B}" dt="2023-10-20T07:05:33.428" v="699" actId="478"/>
          <ac:spMkLst>
            <pc:docMk/>
            <pc:sldMk cId="0" sldId="256"/>
            <ac:spMk id="45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6"/>
            <ac:spMk id="46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6"/>
            <ac:spMk id="47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6"/>
            <ac:spMk id="48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6"/>
            <ac:spMk id="49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6"/>
            <ac:spMk id="50" creationId="{00000000-0000-0000-0000-000000000000}"/>
          </ac:spMkLst>
        </pc:spChg>
        <pc:spChg chg="del mod">
          <ac:chgData name="Virginie PONCET" userId="ebcd993a-a2ce-4546-82a8-b8fa2d7b77e1" providerId="ADAL" clId="{E5B7E8CE-123C-4CA0-9A8C-CD46EC48866B}" dt="2023-10-20T07:05:14.790" v="697" actId="478"/>
          <ac:spMkLst>
            <pc:docMk/>
            <pc:sldMk cId="0" sldId="256"/>
            <ac:spMk id="51" creationId="{00000000-0000-0000-0000-000000000000}"/>
          </ac:spMkLst>
        </pc:spChg>
        <pc:spChg chg="del mod">
          <ac:chgData name="Virginie PONCET" userId="ebcd993a-a2ce-4546-82a8-b8fa2d7b77e1" providerId="ADAL" clId="{E5B7E8CE-123C-4CA0-9A8C-CD46EC48866B}" dt="2023-10-20T07:05:14.790" v="697" actId="478"/>
          <ac:spMkLst>
            <pc:docMk/>
            <pc:sldMk cId="0" sldId="256"/>
            <ac:spMk id="52" creationId="{00000000-0000-0000-0000-000000000000}"/>
          </ac:spMkLst>
        </pc:spChg>
        <pc:spChg chg="del mod">
          <ac:chgData name="Virginie PONCET" userId="ebcd993a-a2ce-4546-82a8-b8fa2d7b77e1" providerId="ADAL" clId="{E5B7E8CE-123C-4CA0-9A8C-CD46EC48866B}" dt="2023-10-20T07:05:14.790" v="697" actId="478"/>
          <ac:spMkLst>
            <pc:docMk/>
            <pc:sldMk cId="0" sldId="256"/>
            <ac:spMk id="53" creationId="{00000000-0000-0000-0000-000000000000}"/>
          </ac:spMkLst>
        </pc:spChg>
        <pc:spChg chg="del mod">
          <ac:chgData name="Virginie PONCET" userId="ebcd993a-a2ce-4546-82a8-b8fa2d7b77e1" providerId="ADAL" clId="{E5B7E8CE-123C-4CA0-9A8C-CD46EC48866B}" dt="2023-10-20T07:05:14.790" v="697" actId="478"/>
          <ac:spMkLst>
            <pc:docMk/>
            <pc:sldMk cId="0" sldId="256"/>
            <ac:spMk id="54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6"/>
            <ac:spMk id="56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6"/>
            <ac:spMk id="57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7:24.270" v="772" actId="1037"/>
          <ac:spMkLst>
            <pc:docMk/>
            <pc:sldMk cId="0" sldId="256"/>
            <ac:spMk id="58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7:24.270" v="772" actId="1037"/>
          <ac:spMkLst>
            <pc:docMk/>
            <pc:sldMk cId="0" sldId="256"/>
            <ac:spMk id="59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9:26.387" v="885" actId="1036"/>
          <ac:spMkLst>
            <pc:docMk/>
            <pc:sldMk cId="0" sldId="256"/>
            <ac:spMk id="60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14:01.543" v="1001" actId="14100"/>
          <ac:spMkLst>
            <pc:docMk/>
            <pc:sldMk cId="0" sldId="256"/>
            <ac:spMk id="61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9:26.387" v="885" actId="1036"/>
          <ac:spMkLst>
            <pc:docMk/>
            <pc:sldMk cId="0" sldId="256"/>
            <ac:spMk id="6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14:18.067" v="1005" actId="14100"/>
          <ac:spMkLst>
            <pc:docMk/>
            <pc:sldMk cId="0" sldId="256"/>
            <ac:spMk id="6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14:36.169" v="1009" actId="1076"/>
          <ac:spMkLst>
            <pc:docMk/>
            <pc:sldMk cId="0" sldId="256"/>
            <ac:spMk id="64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14:49.432" v="1011" actId="14100"/>
          <ac:spMkLst>
            <pc:docMk/>
            <pc:sldMk cId="0" sldId="256"/>
            <ac:spMk id="65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14:32.330" v="1008" actId="1076"/>
          <ac:spMkLst>
            <pc:docMk/>
            <pc:sldMk cId="0" sldId="256"/>
            <ac:spMk id="66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14:53.365" v="1012" actId="14100"/>
          <ac:spMkLst>
            <pc:docMk/>
            <pc:sldMk cId="0" sldId="256"/>
            <ac:spMk id="67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9:26.387" v="885" actId="1036"/>
          <ac:spMkLst>
            <pc:docMk/>
            <pc:sldMk cId="0" sldId="256"/>
            <ac:spMk id="68" creationId="{00000000-0000-0000-0000-000000000000}"/>
          </ac:spMkLst>
        </pc:spChg>
        <pc:spChg chg="del mod">
          <ac:chgData name="Virginie PONCET" userId="ebcd993a-a2ce-4546-82a8-b8fa2d7b77e1" providerId="ADAL" clId="{E5B7E8CE-123C-4CA0-9A8C-CD46EC48866B}" dt="2023-10-20T07:05:14.790" v="697" actId="478"/>
          <ac:spMkLst>
            <pc:docMk/>
            <pc:sldMk cId="0" sldId="256"/>
            <ac:spMk id="69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9:31.230" v="886" actId="1076"/>
          <ac:spMkLst>
            <pc:docMk/>
            <pc:sldMk cId="0" sldId="256"/>
            <ac:spMk id="70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7:02.878" v="712" actId="403"/>
          <ac:spMkLst>
            <pc:docMk/>
            <pc:sldMk cId="0" sldId="256"/>
            <ac:spMk id="7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7:02.878" v="712" actId="403"/>
          <ac:spMkLst>
            <pc:docMk/>
            <pc:sldMk cId="0" sldId="256"/>
            <ac:spMk id="7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9:26.387" v="885" actId="1036"/>
          <ac:spMkLst>
            <pc:docMk/>
            <pc:sldMk cId="0" sldId="256"/>
            <ac:spMk id="74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7:02.878" v="712" actId="403"/>
          <ac:spMkLst>
            <pc:docMk/>
            <pc:sldMk cId="0" sldId="256"/>
            <ac:spMk id="76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7:02.878" v="712" actId="403"/>
          <ac:spMkLst>
            <pc:docMk/>
            <pc:sldMk cId="0" sldId="256"/>
            <ac:spMk id="77" creationId="{00000000-0000-0000-0000-000000000000}"/>
          </ac:spMkLst>
        </pc:spChg>
        <pc:spChg chg="del mod">
          <ac:chgData name="Virginie PONCET" userId="ebcd993a-a2ce-4546-82a8-b8fa2d7b77e1" providerId="ADAL" clId="{E5B7E8CE-123C-4CA0-9A8C-CD46EC48866B}" dt="2023-10-20T07:05:48.312" v="702" actId="478"/>
          <ac:spMkLst>
            <pc:docMk/>
            <pc:sldMk cId="0" sldId="256"/>
            <ac:spMk id="78" creationId="{00000000-0000-0000-0000-000000000000}"/>
          </ac:spMkLst>
        </pc:spChg>
        <pc:spChg chg="del mod">
          <ac:chgData name="Virginie PONCET" userId="ebcd993a-a2ce-4546-82a8-b8fa2d7b77e1" providerId="ADAL" clId="{E5B7E8CE-123C-4CA0-9A8C-CD46EC48866B}" dt="2023-10-20T07:05:44.476" v="701" actId="478"/>
          <ac:spMkLst>
            <pc:docMk/>
            <pc:sldMk cId="0" sldId="256"/>
            <ac:spMk id="79" creationId="{00000000-0000-0000-0000-000000000000}"/>
          </ac:spMkLst>
        </pc:spChg>
        <pc:spChg chg="del mod">
          <ac:chgData name="Virginie PONCET" userId="ebcd993a-a2ce-4546-82a8-b8fa2d7b77e1" providerId="ADAL" clId="{E5B7E8CE-123C-4CA0-9A8C-CD46EC48866B}" dt="2023-10-20T07:05:24.076" v="698" actId="478"/>
          <ac:spMkLst>
            <pc:docMk/>
            <pc:sldMk cId="0" sldId="256"/>
            <ac:spMk id="80" creationId="{00000000-0000-0000-0000-000000000000}"/>
          </ac:spMkLst>
        </pc:spChg>
        <pc:spChg chg="del mod">
          <ac:chgData name="Virginie PONCET" userId="ebcd993a-a2ce-4546-82a8-b8fa2d7b77e1" providerId="ADAL" clId="{E5B7E8CE-123C-4CA0-9A8C-CD46EC48866B}" dt="2023-10-20T07:09:57.309" v="926" actId="478"/>
          <ac:spMkLst>
            <pc:docMk/>
            <pc:sldMk cId="0" sldId="256"/>
            <ac:spMk id="81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10:07.807" v="928" actId="1076"/>
          <ac:spMkLst>
            <pc:docMk/>
            <pc:sldMk cId="0" sldId="256"/>
            <ac:spMk id="8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12:28.772" v="939" actId="20577"/>
          <ac:spMkLst>
            <pc:docMk/>
            <pc:sldMk cId="0" sldId="256"/>
            <ac:spMk id="8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6"/>
            <ac:spMk id="85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6"/>
            <ac:spMk id="86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6"/>
            <ac:spMk id="87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6"/>
            <ac:spMk id="88" creationId="{00000000-0000-0000-0000-000000000000}"/>
          </ac:spMkLst>
        </pc:spChg>
        <pc:spChg chg="del mod">
          <ac:chgData name="Virginie PONCET" userId="ebcd993a-a2ce-4546-82a8-b8fa2d7b77e1" providerId="ADAL" clId="{E5B7E8CE-123C-4CA0-9A8C-CD46EC48866B}" dt="2023-10-20T07:06:17.055" v="704" actId="478"/>
          <ac:spMkLst>
            <pc:docMk/>
            <pc:sldMk cId="0" sldId="256"/>
            <ac:spMk id="89" creationId="{00000000-0000-0000-0000-000000000000}"/>
          </ac:spMkLst>
        </pc:spChg>
        <pc:spChg chg="del mod">
          <ac:chgData name="Virginie PONCET" userId="ebcd993a-a2ce-4546-82a8-b8fa2d7b77e1" providerId="ADAL" clId="{E5B7E8CE-123C-4CA0-9A8C-CD46EC48866B}" dt="2023-10-20T07:05:14.790" v="697" actId="478"/>
          <ac:spMkLst>
            <pc:docMk/>
            <pc:sldMk cId="0" sldId="256"/>
            <ac:spMk id="90" creationId="{00000000-0000-0000-0000-000000000000}"/>
          </ac:spMkLst>
        </pc:spChg>
        <pc:spChg chg="del mod">
          <ac:chgData name="Virginie PONCET" userId="ebcd993a-a2ce-4546-82a8-b8fa2d7b77e1" providerId="ADAL" clId="{E5B7E8CE-123C-4CA0-9A8C-CD46EC48866B}" dt="2023-10-20T07:05:14.790" v="697" actId="478"/>
          <ac:spMkLst>
            <pc:docMk/>
            <pc:sldMk cId="0" sldId="256"/>
            <ac:spMk id="91" creationId="{00000000-0000-0000-0000-000000000000}"/>
          </ac:spMkLst>
        </pc:spChg>
        <pc:spChg chg="add del mod">
          <ac:chgData name="Virginie PONCET" userId="ebcd993a-a2ce-4546-82a8-b8fa2d7b77e1" providerId="ADAL" clId="{E5B7E8CE-123C-4CA0-9A8C-CD46EC48866B}" dt="2023-10-20T07:15:16.819" v="1015"/>
          <ac:spMkLst>
            <pc:docMk/>
            <pc:sldMk cId="0" sldId="256"/>
            <ac:spMk id="92" creationId="{32A71B9E-9534-8604-710E-7C25DA1C2096}"/>
          </ac:spMkLst>
        </pc:spChg>
        <pc:spChg chg="add mod">
          <ac:chgData name="Virginie PONCET" userId="ebcd993a-a2ce-4546-82a8-b8fa2d7b77e1" providerId="ADAL" clId="{E5B7E8CE-123C-4CA0-9A8C-CD46EC48866B}" dt="2023-10-20T07:15:34.951" v="1043" actId="1036"/>
          <ac:spMkLst>
            <pc:docMk/>
            <pc:sldMk cId="0" sldId="256"/>
            <ac:spMk id="93" creationId="{FC78D858-B085-BD8C-E7AC-2511F0D8A286}"/>
          </ac:spMkLst>
        </pc:spChg>
        <pc:spChg chg="add mod">
          <ac:chgData name="Virginie PONCET" userId="ebcd993a-a2ce-4546-82a8-b8fa2d7b77e1" providerId="ADAL" clId="{E5B7E8CE-123C-4CA0-9A8C-CD46EC48866B}" dt="2023-10-20T07:17:26.740" v="1136" actId="1035"/>
          <ac:spMkLst>
            <pc:docMk/>
            <pc:sldMk cId="0" sldId="256"/>
            <ac:spMk id="94" creationId="{CE0542EC-2342-24C7-C039-FCE5DE154A08}"/>
          </ac:spMkLst>
        </pc:spChg>
        <pc:spChg chg="add mod">
          <ac:chgData name="Virginie PONCET" userId="ebcd993a-a2ce-4546-82a8-b8fa2d7b77e1" providerId="ADAL" clId="{E5B7E8CE-123C-4CA0-9A8C-CD46EC48866B}" dt="2023-10-20T07:17:26.740" v="1136" actId="1035"/>
          <ac:spMkLst>
            <pc:docMk/>
            <pc:sldMk cId="0" sldId="256"/>
            <ac:spMk id="95" creationId="{DEF787DB-E389-BCDD-B6D5-05C94F0C8552}"/>
          </ac:spMkLst>
        </pc:spChg>
        <pc:grpChg chg="mod">
          <ac:chgData name="Virginie PONCET" userId="ebcd993a-a2ce-4546-82a8-b8fa2d7b77e1" providerId="ADAL" clId="{E5B7E8CE-123C-4CA0-9A8C-CD46EC48866B}" dt="2023-10-20T07:07:24.270" v="772" actId="1037"/>
          <ac:grpSpMkLst>
            <pc:docMk/>
            <pc:sldMk cId="0" sldId="256"/>
            <ac:grpSpMk id="5" creationId="{00000000-0000-0000-0000-000000000000}"/>
          </ac:grpSpMkLst>
        </pc:grpChg>
        <pc:grpChg chg="mod">
          <ac:chgData name="Virginie PONCET" userId="ebcd993a-a2ce-4546-82a8-b8fa2d7b77e1" providerId="ADAL" clId="{E5B7E8CE-123C-4CA0-9A8C-CD46EC48866B}" dt="2023-10-20T07:07:24.270" v="772" actId="1037"/>
          <ac:grpSpMkLst>
            <pc:docMk/>
            <pc:sldMk cId="0" sldId="256"/>
            <ac:grpSpMk id="10" creationId="{00000000-0000-0000-0000-000000000000}"/>
          </ac:grpSpMkLst>
        </pc:grpChg>
        <pc:grpChg chg="del mod">
          <ac:chgData name="Virginie PONCET" userId="ebcd993a-a2ce-4546-82a8-b8fa2d7b77e1" providerId="ADAL" clId="{E5B7E8CE-123C-4CA0-9A8C-CD46EC48866B}" dt="2023-10-20T07:06:25.081" v="706" actId="478"/>
          <ac:grpSpMkLst>
            <pc:docMk/>
            <pc:sldMk cId="0" sldId="256"/>
            <ac:grpSpMk id="19" creationId="{00000000-0000-0000-0000-000000000000}"/>
          </ac:grpSpMkLst>
        </pc:grpChg>
        <pc:grpChg chg="del mod">
          <ac:chgData name="Virginie PONCET" userId="ebcd993a-a2ce-4546-82a8-b8fa2d7b77e1" providerId="ADAL" clId="{E5B7E8CE-123C-4CA0-9A8C-CD46EC48866B}" dt="2023-10-20T07:06:34.055" v="708" actId="478"/>
          <ac:grpSpMkLst>
            <pc:docMk/>
            <pc:sldMk cId="0" sldId="256"/>
            <ac:grpSpMk id="30" creationId="{00000000-0000-0000-0000-000000000000}"/>
          </ac:grpSpMkLst>
        </pc:grpChg>
        <pc:grpChg chg="del mod">
          <ac:chgData name="Virginie PONCET" userId="ebcd993a-a2ce-4546-82a8-b8fa2d7b77e1" providerId="ADAL" clId="{E5B7E8CE-123C-4CA0-9A8C-CD46EC48866B}" dt="2023-10-20T07:05:35.547" v="700" actId="478"/>
          <ac:grpSpMkLst>
            <pc:docMk/>
            <pc:sldMk cId="0" sldId="256"/>
            <ac:grpSpMk id="41" creationId="{00000000-0000-0000-0000-000000000000}"/>
          </ac:grpSpMkLst>
        </pc:grpChg>
        <pc:grpChg chg="del mod">
          <ac:chgData name="Virginie PONCET" userId="ebcd993a-a2ce-4546-82a8-b8fa2d7b77e1" providerId="ADAL" clId="{E5B7E8CE-123C-4CA0-9A8C-CD46EC48866B}" dt="2023-10-20T07:09:12.161" v="859" actId="478"/>
          <ac:grpSpMkLst>
            <pc:docMk/>
            <pc:sldMk cId="0" sldId="256"/>
            <ac:grpSpMk id="55" creationId="{00000000-0000-0000-0000-000000000000}"/>
          </ac:grpSpMkLst>
        </pc:grpChg>
        <pc:grpChg chg="mod">
          <ac:chgData name="Virginie PONCET" userId="ebcd993a-a2ce-4546-82a8-b8fa2d7b77e1" providerId="ADAL" clId="{E5B7E8CE-123C-4CA0-9A8C-CD46EC48866B}" dt="2023-10-20T07:13:32.629" v="997" actId="14100"/>
          <ac:grpSpMkLst>
            <pc:docMk/>
            <pc:sldMk cId="0" sldId="256"/>
            <ac:grpSpMk id="71" creationId="{00000000-0000-0000-0000-000000000000}"/>
          </ac:grpSpMkLst>
        </pc:grpChg>
        <pc:grpChg chg="mod">
          <ac:chgData name="Virginie PONCET" userId="ebcd993a-a2ce-4546-82a8-b8fa2d7b77e1" providerId="ADAL" clId="{E5B7E8CE-123C-4CA0-9A8C-CD46EC48866B}" dt="2023-10-20T07:13:36.609" v="998" actId="14100"/>
          <ac:grpSpMkLst>
            <pc:docMk/>
            <pc:sldMk cId="0" sldId="256"/>
            <ac:grpSpMk id="75" creationId="{00000000-0000-0000-0000-000000000000}"/>
          </ac:grpSpMkLst>
        </pc:grpChg>
        <pc:grpChg chg="del mod">
          <ac:chgData name="Virginie PONCET" userId="ebcd993a-a2ce-4546-82a8-b8fa2d7b77e1" providerId="ADAL" clId="{E5B7E8CE-123C-4CA0-9A8C-CD46EC48866B}" dt="2023-10-20T07:06:21.633" v="705" actId="478"/>
          <ac:grpSpMkLst>
            <pc:docMk/>
            <pc:sldMk cId="0" sldId="256"/>
            <ac:grpSpMk id="84" creationId="{00000000-0000-0000-0000-000000000000}"/>
          </ac:grpSpMkLst>
        </pc:grpChg>
      </pc:sldChg>
      <pc:sldChg chg="delSp modSp add mod">
        <pc:chgData name="Virginie PONCET" userId="ebcd993a-a2ce-4546-82a8-b8fa2d7b77e1" providerId="ADAL" clId="{E5B7E8CE-123C-4CA0-9A8C-CD46EC48866B}" dt="2023-10-20T07:04:55.744" v="695"/>
        <pc:sldMkLst>
          <pc:docMk/>
          <pc:sldMk cId="0" sldId="259"/>
        </pc:sldMkLst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9"/>
            <ac:spMk id="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9"/>
            <ac:spMk id="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9"/>
            <ac:spMk id="5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9"/>
            <ac:spMk id="6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9"/>
            <ac:spMk id="7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9"/>
            <ac:spMk id="8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9"/>
            <ac:spMk id="9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9"/>
            <ac:spMk id="10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9"/>
            <ac:spMk id="11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9"/>
            <ac:spMk id="1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9"/>
            <ac:spMk id="1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9"/>
            <ac:spMk id="14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9"/>
            <ac:spMk id="15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9"/>
            <ac:spMk id="16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9"/>
            <ac:spMk id="17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9"/>
            <ac:spMk id="18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9"/>
            <ac:spMk id="19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9"/>
            <ac:spMk id="20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9"/>
            <ac:spMk id="21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9"/>
            <ac:spMk id="2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9"/>
            <ac:spMk id="2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9"/>
            <ac:spMk id="24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9"/>
            <ac:spMk id="25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9"/>
            <ac:spMk id="26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9"/>
            <ac:spMk id="27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9"/>
            <ac:spMk id="28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9"/>
            <ac:spMk id="29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9"/>
            <ac:spMk id="30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9"/>
            <ac:spMk id="31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9"/>
            <ac:spMk id="3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9"/>
            <ac:spMk id="3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9"/>
            <ac:spMk id="34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9"/>
            <ac:spMk id="35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9"/>
            <ac:spMk id="36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9"/>
            <ac:spMk id="37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9"/>
            <ac:spMk id="38" creationId="{00000000-0000-0000-0000-000000000000}"/>
          </ac:spMkLst>
        </pc:spChg>
        <pc:spChg chg="del mod">
          <ac:chgData name="Virginie PONCET" userId="ebcd993a-a2ce-4546-82a8-b8fa2d7b77e1" providerId="ADAL" clId="{E5B7E8CE-123C-4CA0-9A8C-CD46EC48866B}" dt="2023-10-10T15:23:09.070" v="480" actId="478"/>
          <ac:spMkLst>
            <pc:docMk/>
            <pc:sldMk cId="0" sldId="259"/>
            <ac:spMk id="39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9"/>
            <ac:spMk id="40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9"/>
            <ac:spMk id="41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9"/>
            <ac:spMk id="4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9"/>
            <ac:spMk id="4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59"/>
            <ac:spMk id="44" creationId="{00000000-0000-0000-0000-000000000000}"/>
          </ac:spMkLst>
        </pc:spChg>
        <pc:grpChg chg="mod">
          <ac:chgData name="Virginie PONCET" userId="ebcd993a-a2ce-4546-82a8-b8fa2d7b77e1" providerId="ADAL" clId="{E5B7E8CE-123C-4CA0-9A8C-CD46EC48866B}" dt="2023-10-20T07:04:55.744" v="695"/>
          <ac:grpSpMkLst>
            <pc:docMk/>
            <pc:sldMk cId="0" sldId="259"/>
            <ac:grpSpMk id="4" creationId="{00000000-0000-0000-0000-000000000000}"/>
          </ac:grpSpMkLst>
        </pc:grpChg>
      </pc:sldChg>
      <pc:sldChg chg="modSp add mod">
        <pc:chgData name="Virginie PONCET" userId="ebcd993a-a2ce-4546-82a8-b8fa2d7b77e1" providerId="ADAL" clId="{E5B7E8CE-123C-4CA0-9A8C-CD46EC48866B}" dt="2023-10-20T07:04:55.744" v="695"/>
        <pc:sldMkLst>
          <pc:docMk/>
          <pc:sldMk cId="0" sldId="262"/>
        </pc:sldMkLst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2"/>
            <ac:spMk id="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2"/>
            <ac:spMk id="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2"/>
            <ac:spMk id="4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2"/>
            <ac:spMk id="5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2"/>
            <ac:spMk id="6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2"/>
            <ac:spMk id="7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2"/>
            <ac:spMk id="8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2"/>
            <ac:spMk id="9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2"/>
            <ac:spMk id="10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2"/>
            <ac:spMk id="11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2"/>
            <ac:spMk id="1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2"/>
            <ac:spMk id="1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2"/>
            <ac:spMk id="14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2"/>
            <ac:spMk id="17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2"/>
            <ac:spMk id="19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2"/>
            <ac:spMk id="20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2"/>
            <ac:spMk id="21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2"/>
            <ac:spMk id="2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2"/>
            <ac:spMk id="2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2"/>
            <ac:spMk id="24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2"/>
            <ac:spMk id="25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2"/>
            <ac:spMk id="27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2"/>
            <ac:spMk id="29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2"/>
            <ac:spMk id="30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2"/>
            <ac:spMk id="31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2"/>
            <ac:spMk id="3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2"/>
            <ac:spMk id="34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2"/>
            <ac:spMk id="35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2"/>
            <ac:spMk id="36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2"/>
            <ac:spMk id="37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2"/>
            <ac:spMk id="38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2"/>
            <ac:spMk id="39" creationId="{00000000-0000-0000-0000-000000000000}"/>
          </ac:spMkLst>
        </pc:spChg>
        <pc:grpChg chg="mod">
          <ac:chgData name="Virginie PONCET" userId="ebcd993a-a2ce-4546-82a8-b8fa2d7b77e1" providerId="ADAL" clId="{E5B7E8CE-123C-4CA0-9A8C-CD46EC48866B}" dt="2023-10-20T07:04:55.744" v="695"/>
          <ac:grpSpMkLst>
            <pc:docMk/>
            <pc:sldMk cId="0" sldId="262"/>
            <ac:grpSpMk id="16" creationId="{00000000-0000-0000-0000-000000000000}"/>
          </ac:grpSpMkLst>
        </pc:grpChg>
        <pc:grpChg chg="mod">
          <ac:chgData name="Virginie PONCET" userId="ebcd993a-a2ce-4546-82a8-b8fa2d7b77e1" providerId="ADAL" clId="{E5B7E8CE-123C-4CA0-9A8C-CD46EC48866B}" dt="2023-10-20T07:04:55.744" v="695"/>
          <ac:grpSpMkLst>
            <pc:docMk/>
            <pc:sldMk cId="0" sldId="262"/>
            <ac:grpSpMk id="28" creationId="{00000000-0000-0000-0000-000000000000}"/>
          </ac:grpSpMkLst>
        </pc:grpChg>
        <pc:picChg chg="mod">
          <ac:chgData name="Virginie PONCET" userId="ebcd993a-a2ce-4546-82a8-b8fa2d7b77e1" providerId="ADAL" clId="{E5B7E8CE-123C-4CA0-9A8C-CD46EC48866B}" dt="2023-10-20T07:04:55.744" v="695"/>
          <ac:picMkLst>
            <pc:docMk/>
            <pc:sldMk cId="0" sldId="262"/>
            <ac:picMk id="15" creationId="{00000000-0000-0000-0000-000000000000}"/>
          </ac:picMkLst>
        </pc:picChg>
        <pc:picChg chg="mod">
          <ac:chgData name="Virginie PONCET" userId="ebcd993a-a2ce-4546-82a8-b8fa2d7b77e1" providerId="ADAL" clId="{E5B7E8CE-123C-4CA0-9A8C-CD46EC48866B}" dt="2023-10-20T07:04:55.744" v="695"/>
          <ac:picMkLst>
            <pc:docMk/>
            <pc:sldMk cId="0" sldId="262"/>
            <ac:picMk id="18" creationId="{00000000-0000-0000-0000-000000000000}"/>
          </ac:picMkLst>
        </pc:picChg>
        <pc:picChg chg="mod">
          <ac:chgData name="Virginie PONCET" userId="ebcd993a-a2ce-4546-82a8-b8fa2d7b77e1" providerId="ADAL" clId="{E5B7E8CE-123C-4CA0-9A8C-CD46EC48866B}" dt="2023-10-20T07:04:55.744" v="695"/>
          <ac:picMkLst>
            <pc:docMk/>
            <pc:sldMk cId="0" sldId="262"/>
            <ac:picMk id="26" creationId="{00000000-0000-0000-0000-000000000000}"/>
          </ac:picMkLst>
        </pc:picChg>
        <pc:picChg chg="mod">
          <ac:chgData name="Virginie PONCET" userId="ebcd993a-a2ce-4546-82a8-b8fa2d7b77e1" providerId="ADAL" clId="{E5B7E8CE-123C-4CA0-9A8C-CD46EC48866B}" dt="2023-10-20T07:04:55.744" v="695"/>
          <ac:picMkLst>
            <pc:docMk/>
            <pc:sldMk cId="0" sldId="262"/>
            <ac:picMk id="33" creationId="{00000000-0000-0000-0000-000000000000}"/>
          </ac:picMkLst>
        </pc:picChg>
      </pc:sldChg>
      <pc:sldChg chg="delSp modSp add mod">
        <pc:chgData name="Virginie PONCET" userId="ebcd993a-a2ce-4546-82a8-b8fa2d7b77e1" providerId="ADAL" clId="{E5B7E8CE-123C-4CA0-9A8C-CD46EC48866B}" dt="2023-10-20T07:04:55.744" v="695"/>
        <pc:sldMkLst>
          <pc:docMk/>
          <pc:sldMk cId="0" sldId="263"/>
        </pc:sldMkLst>
        <pc:spChg chg="del mod">
          <ac:chgData name="Virginie PONCET" userId="ebcd993a-a2ce-4546-82a8-b8fa2d7b77e1" providerId="ADAL" clId="{E5B7E8CE-123C-4CA0-9A8C-CD46EC48866B}" dt="2023-10-10T15:23:04.634" v="479" actId="478"/>
          <ac:spMkLst>
            <pc:docMk/>
            <pc:sldMk cId="0" sldId="263"/>
            <ac:spMk id="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3"/>
            <ac:spMk id="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3"/>
            <ac:spMk id="4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3"/>
            <ac:spMk id="5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3"/>
            <ac:spMk id="6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3"/>
            <ac:spMk id="7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3"/>
            <ac:spMk id="8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3"/>
            <ac:spMk id="9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3"/>
            <ac:spMk id="10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3"/>
            <ac:spMk id="1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3"/>
            <ac:spMk id="1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3"/>
            <ac:spMk id="14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3"/>
            <ac:spMk id="15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3"/>
            <ac:spMk id="16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3"/>
            <ac:spMk id="17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3"/>
            <ac:spMk id="18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3"/>
            <ac:spMk id="19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3"/>
            <ac:spMk id="2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3"/>
            <ac:spMk id="25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3"/>
            <ac:spMk id="26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3"/>
            <ac:spMk id="27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3"/>
            <ac:spMk id="28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3"/>
            <ac:spMk id="29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3"/>
            <ac:spMk id="30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3"/>
            <ac:spMk id="31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3"/>
            <ac:spMk id="3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3"/>
            <ac:spMk id="34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3"/>
            <ac:spMk id="35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3"/>
            <ac:spMk id="36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3"/>
            <ac:spMk id="37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3"/>
            <ac:spMk id="38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3"/>
            <ac:spMk id="39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3"/>
            <ac:spMk id="40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3"/>
            <ac:spMk id="41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3"/>
            <ac:spMk id="4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3"/>
            <ac:spMk id="4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3"/>
            <ac:spMk id="44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3"/>
            <ac:spMk id="45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3"/>
            <ac:spMk id="46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3"/>
            <ac:spMk id="47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3"/>
            <ac:spMk id="48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3"/>
            <ac:spMk id="49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3"/>
            <ac:spMk id="50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3"/>
            <ac:spMk id="51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3"/>
            <ac:spMk id="5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3"/>
            <ac:spMk id="5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3"/>
            <ac:spMk id="54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3"/>
            <ac:spMk id="55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3"/>
            <ac:spMk id="57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3"/>
            <ac:spMk id="58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3"/>
            <ac:spMk id="59" creationId="{00000000-0000-0000-0000-000000000000}"/>
          </ac:spMkLst>
        </pc:spChg>
        <pc:grpChg chg="mod">
          <ac:chgData name="Virginie PONCET" userId="ebcd993a-a2ce-4546-82a8-b8fa2d7b77e1" providerId="ADAL" clId="{E5B7E8CE-123C-4CA0-9A8C-CD46EC48866B}" dt="2023-10-20T07:04:55.744" v="695"/>
          <ac:grpSpMkLst>
            <pc:docMk/>
            <pc:sldMk cId="0" sldId="263"/>
            <ac:grpSpMk id="20" creationId="{00000000-0000-0000-0000-000000000000}"/>
          </ac:grpSpMkLst>
        </pc:grpChg>
        <pc:picChg chg="mod">
          <ac:chgData name="Virginie PONCET" userId="ebcd993a-a2ce-4546-82a8-b8fa2d7b77e1" providerId="ADAL" clId="{E5B7E8CE-123C-4CA0-9A8C-CD46EC48866B}" dt="2023-10-20T07:04:55.744" v="695"/>
          <ac:picMkLst>
            <pc:docMk/>
            <pc:sldMk cId="0" sldId="263"/>
            <ac:picMk id="11" creationId="{00000000-0000-0000-0000-000000000000}"/>
          </ac:picMkLst>
        </pc:picChg>
        <pc:picChg chg="mod">
          <ac:chgData name="Virginie PONCET" userId="ebcd993a-a2ce-4546-82a8-b8fa2d7b77e1" providerId="ADAL" clId="{E5B7E8CE-123C-4CA0-9A8C-CD46EC48866B}" dt="2023-10-20T07:04:55.744" v="695"/>
          <ac:picMkLst>
            <pc:docMk/>
            <pc:sldMk cId="0" sldId="263"/>
            <ac:picMk id="21" creationId="{00000000-0000-0000-0000-000000000000}"/>
          </ac:picMkLst>
        </pc:picChg>
        <pc:picChg chg="mod">
          <ac:chgData name="Virginie PONCET" userId="ebcd993a-a2ce-4546-82a8-b8fa2d7b77e1" providerId="ADAL" clId="{E5B7E8CE-123C-4CA0-9A8C-CD46EC48866B}" dt="2023-10-20T07:04:55.744" v="695"/>
          <ac:picMkLst>
            <pc:docMk/>
            <pc:sldMk cId="0" sldId="263"/>
            <ac:picMk id="22" creationId="{00000000-0000-0000-0000-000000000000}"/>
          </ac:picMkLst>
        </pc:picChg>
        <pc:picChg chg="mod">
          <ac:chgData name="Virginie PONCET" userId="ebcd993a-a2ce-4546-82a8-b8fa2d7b77e1" providerId="ADAL" clId="{E5B7E8CE-123C-4CA0-9A8C-CD46EC48866B}" dt="2023-10-20T07:04:55.744" v="695"/>
          <ac:picMkLst>
            <pc:docMk/>
            <pc:sldMk cId="0" sldId="263"/>
            <ac:picMk id="24" creationId="{00000000-0000-0000-0000-000000000000}"/>
          </ac:picMkLst>
        </pc:picChg>
        <pc:picChg chg="mod">
          <ac:chgData name="Virginie PONCET" userId="ebcd993a-a2ce-4546-82a8-b8fa2d7b77e1" providerId="ADAL" clId="{E5B7E8CE-123C-4CA0-9A8C-CD46EC48866B}" dt="2023-10-20T07:04:55.744" v="695"/>
          <ac:picMkLst>
            <pc:docMk/>
            <pc:sldMk cId="0" sldId="263"/>
            <ac:picMk id="32" creationId="{00000000-0000-0000-0000-000000000000}"/>
          </ac:picMkLst>
        </pc:picChg>
        <pc:picChg chg="mod">
          <ac:chgData name="Virginie PONCET" userId="ebcd993a-a2ce-4546-82a8-b8fa2d7b77e1" providerId="ADAL" clId="{E5B7E8CE-123C-4CA0-9A8C-CD46EC48866B}" dt="2023-10-20T07:04:55.744" v="695"/>
          <ac:picMkLst>
            <pc:docMk/>
            <pc:sldMk cId="0" sldId="263"/>
            <ac:picMk id="56" creationId="{00000000-0000-0000-0000-000000000000}"/>
          </ac:picMkLst>
        </pc:picChg>
      </pc:sldChg>
      <pc:sldChg chg="delSp modSp add mod">
        <pc:chgData name="Virginie PONCET" userId="ebcd993a-a2ce-4546-82a8-b8fa2d7b77e1" providerId="ADAL" clId="{E5B7E8CE-123C-4CA0-9A8C-CD46EC48866B}" dt="2023-10-20T07:04:55.744" v="695"/>
        <pc:sldMkLst>
          <pc:docMk/>
          <pc:sldMk cId="0" sldId="265"/>
        </pc:sldMkLst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5"/>
            <ac:spMk id="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5"/>
            <ac:spMk id="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5"/>
            <ac:spMk id="4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5"/>
            <ac:spMk id="5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5"/>
            <ac:spMk id="6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5"/>
            <ac:spMk id="7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5"/>
            <ac:spMk id="8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5"/>
            <ac:spMk id="10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5"/>
            <ac:spMk id="11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5"/>
            <ac:spMk id="1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5"/>
            <ac:spMk id="14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5"/>
            <ac:spMk id="15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5"/>
            <ac:spMk id="16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5"/>
            <ac:spMk id="18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5"/>
            <ac:spMk id="19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5"/>
            <ac:spMk id="20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5"/>
            <ac:spMk id="2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5"/>
            <ac:spMk id="2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5"/>
            <ac:spMk id="24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10T15:33:02.373" v="562" actId="478"/>
          <ac:spMkLst>
            <pc:docMk/>
            <pc:sldMk cId="0" sldId="265"/>
            <ac:spMk id="25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5"/>
            <ac:spMk id="27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5"/>
            <ac:spMk id="28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5"/>
            <ac:spMk id="29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5"/>
            <ac:spMk id="30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5"/>
            <ac:spMk id="31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5"/>
            <ac:spMk id="3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5"/>
            <ac:spMk id="34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5"/>
            <ac:spMk id="35" creationId="{00000000-0000-0000-0000-000000000000}"/>
          </ac:spMkLst>
        </pc:spChg>
        <pc:grpChg chg="mod">
          <ac:chgData name="Virginie PONCET" userId="ebcd993a-a2ce-4546-82a8-b8fa2d7b77e1" providerId="ADAL" clId="{E5B7E8CE-123C-4CA0-9A8C-CD46EC48866B}" dt="2023-10-20T07:04:55.744" v="695"/>
          <ac:grpSpMkLst>
            <pc:docMk/>
            <pc:sldMk cId="0" sldId="265"/>
            <ac:grpSpMk id="9" creationId="{00000000-0000-0000-0000-000000000000}"/>
          </ac:grpSpMkLst>
        </pc:grpChg>
        <pc:grpChg chg="mod">
          <ac:chgData name="Virginie PONCET" userId="ebcd993a-a2ce-4546-82a8-b8fa2d7b77e1" providerId="ADAL" clId="{E5B7E8CE-123C-4CA0-9A8C-CD46EC48866B}" dt="2023-10-20T07:04:55.744" v="695"/>
          <ac:grpSpMkLst>
            <pc:docMk/>
            <pc:sldMk cId="0" sldId="265"/>
            <ac:grpSpMk id="13" creationId="{00000000-0000-0000-0000-000000000000}"/>
          </ac:grpSpMkLst>
        </pc:grpChg>
        <pc:grpChg chg="mod">
          <ac:chgData name="Virginie PONCET" userId="ebcd993a-a2ce-4546-82a8-b8fa2d7b77e1" providerId="ADAL" clId="{E5B7E8CE-123C-4CA0-9A8C-CD46EC48866B}" dt="2023-10-20T07:04:55.744" v="695"/>
          <ac:grpSpMkLst>
            <pc:docMk/>
            <pc:sldMk cId="0" sldId="265"/>
            <ac:grpSpMk id="17" creationId="{00000000-0000-0000-0000-000000000000}"/>
          </ac:grpSpMkLst>
        </pc:grpChg>
        <pc:grpChg chg="mod">
          <ac:chgData name="Virginie PONCET" userId="ebcd993a-a2ce-4546-82a8-b8fa2d7b77e1" providerId="ADAL" clId="{E5B7E8CE-123C-4CA0-9A8C-CD46EC48866B}" dt="2023-10-20T07:04:55.744" v="695"/>
          <ac:grpSpMkLst>
            <pc:docMk/>
            <pc:sldMk cId="0" sldId="265"/>
            <ac:grpSpMk id="21" creationId="{00000000-0000-0000-0000-000000000000}"/>
          </ac:grpSpMkLst>
        </pc:grpChg>
        <pc:grpChg chg="mod">
          <ac:chgData name="Virginie PONCET" userId="ebcd993a-a2ce-4546-82a8-b8fa2d7b77e1" providerId="ADAL" clId="{E5B7E8CE-123C-4CA0-9A8C-CD46EC48866B}" dt="2023-10-20T07:04:55.744" v="695"/>
          <ac:grpSpMkLst>
            <pc:docMk/>
            <pc:sldMk cId="0" sldId="265"/>
            <ac:grpSpMk id="26" creationId="{00000000-0000-0000-0000-000000000000}"/>
          </ac:grpSpMkLst>
        </pc:grpChg>
        <pc:grpChg chg="mod">
          <ac:chgData name="Virginie PONCET" userId="ebcd993a-a2ce-4546-82a8-b8fa2d7b77e1" providerId="ADAL" clId="{E5B7E8CE-123C-4CA0-9A8C-CD46EC48866B}" dt="2023-10-20T07:04:55.744" v="695"/>
          <ac:grpSpMkLst>
            <pc:docMk/>
            <pc:sldMk cId="0" sldId="265"/>
            <ac:grpSpMk id="32" creationId="{00000000-0000-0000-0000-000000000000}"/>
          </ac:grpSpMkLst>
        </pc:grpChg>
      </pc:sldChg>
      <pc:sldChg chg="delSp modSp add mod">
        <pc:chgData name="Virginie PONCET" userId="ebcd993a-a2ce-4546-82a8-b8fa2d7b77e1" providerId="ADAL" clId="{E5B7E8CE-123C-4CA0-9A8C-CD46EC48866B}" dt="2023-10-20T07:04:55.744" v="695"/>
        <pc:sldMkLst>
          <pc:docMk/>
          <pc:sldMk cId="0" sldId="268"/>
        </pc:sldMkLst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8"/>
            <ac:spMk id="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8"/>
            <ac:spMk id="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8"/>
            <ac:spMk id="5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8"/>
            <ac:spMk id="6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8"/>
            <ac:spMk id="7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8"/>
            <ac:spMk id="8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8"/>
            <ac:spMk id="9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8"/>
            <ac:spMk id="10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8"/>
            <ac:spMk id="11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8"/>
            <ac:spMk id="1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8"/>
            <ac:spMk id="14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8"/>
            <ac:spMk id="15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8"/>
            <ac:spMk id="17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8"/>
            <ac:spMk id="18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8"/>
            <ac:spMk id="19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8"/>
            <ac:spMk id="21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8"/>
            <ac:spMk id="2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8"/>
            <ac:spMk id="23" creationId="{00000000-0000-0000-0000-000000000000}"/>
          </ac:spMkLst>
        </pc:spChg>
        <pc:spChg chg="del mod">
          <ac:chgData name="Virginie PONCET" userId="ebcd993a-a2ce-4546-82a8-b8fa2d7b77e1" providerId="ADAL" clId="{E5B7E8CE-123C-4CA0-9A8C-CD46EC48866B}" dt="2023-10-10T15:22:58.187" v="477" actId="478"/>
          <ac:spMkLst>
            <pc:docMk/>
            <pc:sldMk cId="0" sldId="268"/>
            <ac:spMk id="24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8"/>
            <ac:spMk id="26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8"/>
            <ac:spMk id="27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8"/>
            <ac:spMk id="28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68"/>
            <ac:spMk id="29" creationId="{00000000-0000-0000-0000-000000000000}"/>
          </ac:spMkLst>
        </pc:spChg>
        <pc:grpChg chg="mod">
          <ac:chgData name="Virginie PONCET" userId="ebcd993a-a2ce-4546-82a8-b8fa2d7b77e1" providerId="ADAL" clId="{E5B7E8CE-123C-4CA0-9A8C-CD46EC48866B}" dt="2023-10-20T07:04:55.744" v="695"/>
          <ac:grpSpMkLst>
            <pc:docMk/>
            <pc:sldMk cId="0" sldId="268"/>
            <ac:grpSpMk id="4" creationId="{00000000-0000-0000-0000-000000000000}"/>
          </ac:grpSpMkLst>
        </pc:grpChg>
        <pc:grpChg chg="mod">
          <ac:chgData name="Virginie PONCET" userId="ebcd993a-a2ce-4546-82a8-b8fa2d7b77e1" providerId="ADAL" clId="{E5B7E8CE-123C-4CA0-9A8C-CD46EC48866B}" dt="2023-10-20T07:04:55.744" v="695"/>
          <ac:grpSpMkLst>
            <pc:docMk/>
            <pc:sldMk cId="0" sldId="268"/>
            <ac:grpSpMk id="12" creationId="{00000000-0000-0000-0000-000000000000}"/>
          </ac:grpSpMkLst>
        </pc:grpChg>
        <pc:grpChg chg="mod">
          <ac:chgData name="Virginie PONCET" userId="ebcd993a-a2ce-4546-82a8-b8fa2d7b77e1" providerId="ADAL" clId="{E5B7E8CE-123C-4CA0-9A8C-CD46EC48866B}" dt="2023-10-20T07:04:55.744" v="695"/>
          <ac:grpSpMkLst>
            <pc:docMk/>
            <pc:sldMk cId="0" sldId="268"/>
            <ac:grpSpMk id="16" creationId="{00000000-0000-0000-0000-000000000000}"/>
          </ac:grpSpMkLst>
        </pc:grpChg>
        <pc:grpChg chg="mod">
          <ac:chgData name="Virginie PONCET" userId="ebcd993a-a2ce-4546-82a8-b8fa2d7b77e1" providerId="ADAL" clId="{E5B7E8CE-123C-4CA0-9A8C-CD46EC48866B}" dt="2023-10-20T07:04:55.744" v="695"/>
          <ac:grpSpMkLst>
            <pc:docMk/>
            <pc:sldMk cId="0" sldId="268"/>
            <ac:grpSpMk id="20" creationId="{00000000-0000-0000-0000-000000000000}"/>
          </ac:grpSpMkLst>
        </pc:grpChg>
        <pc:grpChg chg="mod">
          <ac:chgData name="Virginie PONCET" userId="ebcd993a-a2ce-4546-82a8-b8fa2d7b77e1" providerId="ADAL" clId="{E5B7E8CE-123C-4CA0-9A8C-CD46EC48866B}" dt="2023-10-20T07:04:55.744" v="695"/>
          <ac:grpSpMkLst>
            <pc:docMk/>
            <pc:sldMk cId="0" sldId="268"/>
            <ac:grpSpMk id="25" creationId="{00000000-0000-0000-0000-000000000000}"/>
          </ac:grpSpMkLst>
        </pc:grpChg>
      </pc:sldChg>
      <pc:sldChg chg="delSp modSp add mod modNotes">
        <pc:chgData name="Virginie PONCET" userId="ebcd993a-a2ce-4546-82a8-b8fa2d7b77e1" providerId="ADAL" clId="{E5B7E8CE-123C-4CA0-9A8C-CD46EC48866B}" dt="2023-10-20T07:04:55.744" v="695"/>
        <pc:sldMkLst>
          <pc:docMk/>
          <pc:sldMk cId="0" sldId="270"/>
        </pc:sldMkLst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0"/>
            <ac:spMk id="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0"/>
            <ac:spMk id="5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0"/>
            <ac:spMk id="6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0"/>
            <ac:spMk id="7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0"/>
            <ac:spMk id="8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0"/>
            <ac:spMk id="9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0"/>
            <ac:spMk id="10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0"/>
            <ac:spMk id="11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0"/>
            <ac:spMk id="1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0"/>
            <ac:spMk id="14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0"/>
            <ac:spMk id="16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0"/>
            <ac:spMk id="17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0"/>
            <ac:spMk id="18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0"/>
            <ac:spMk id="19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0"/>
            <ac:spMk id="20" creationId="{00000000-0000-0000-0000-000000000000}"/>
          </ac:spMkLst>
        </pc:spChg>
        <pc:spChg chg="del mod">
          <ac:chgData name="Virginie PONCET" userId="ebcd993a-a2ce-4546-82a8-b8fa2d7b77e1" providerId="ADAL" clId="{E5B7E8CE-123C-4CA0-9A8C-CD46EC48866B}" dt="2023-10-10T15:22:52.503" v="476" actId="478"/>
          <ac:spMkLst>
            <pc:docMk/>
            <pc:sldMk cId="0" sldId="270"/>
            <ac:spMk id="21" creationId="{00000000-0000-0000-0000-000000000000}"/>
          </ac:spMkLst>
        </pc:spChg>
        <pc:grpChg chg="mod">
          <ac:chgData name="Virginie PONCET" userId="ebcd993a-a2ce-4546-82a8-b8fa2d7b77e1" providerId="ADAL" clId="{E5B7E8CE-123C-4CA0-9A8C-CD46EC48866B}" dt="2023-10-20T07:04:55.744" v="695"/>
          <ac:grpSpMkLst>
            <pc:docMk/>
            <pc:sldMk cId="0" sldId="270"/>
            <ac:grpSpMk id="2" creationId="{00000000-0000-0000-0000-000000000000}"/>
          </ac:grpSpMkLst>
        </pc:grpChg>
        <pc:grpChg chg="mod">
          <ac:chgData name="Virginie PONCET" userId="ebcd993a-a2ce-4546-82a8-b8fa2d7b77e1" providerId="ADAL" clId="{E5B7E8CE-123C-4CA0-9A8C-CD46EC48866B}" dt="2023-10-20T07:04:55.744" v="695"/>
          <ac:grpSpMkLst>
            <pc:docMk/>
            <pc:sldMk cId="0" sldId="270"/>
            <ac:grpSpMk id="12" creationId="{00000000-0000-0000-0000-000000000000}"/>
          </ac:grpSpMkLst>
        </pc:grpChg>
        <pc:grpChg chg="mod">
          <ac:chgData name="Virginie PONCET" userId="ebcd993a-a2ce-4546-82a8-b8fa2d7b77e1" providerId="ADAL" clId="{E5B7E8CE-123C-4CA0-9A8C-CD46EC48866B}" dt="2023-10-20T07:04:55.744" v="695"/>
          <ac:grpSpMkLst>
            <pc:docMk/>
            <pc:sldMk cId="0" sldId="270"/>
            <ac:grpSpMk id="15" creationId="{00000000-0000-0000-0000-000000000000}"/>
          </ac:grpSpMkLst>
        </pc:grpChg>
        <pc:picChg chg="mod">
          <ac:chgData name="Virginie PONCET" userId="ebcd993a-a2ce-4546-82a8-b8fa2d7b77e1" providerId="ADAL" clId="{E5B7E8CE-123C-4CA0-9A8C-CD46EC48866B}" dt="2023-10-20T07:04:55.744" v="695"/>
          <ac:picMkLst>
            <pc:docMk/>
            <pc:sldMk cId="0" sldId="270"/>
            <ac:picMk id="4" creationId="{00000000-0000-0000-0000-000000000000}"/>
          </ac:picMkLst>
        </pc:picChg>
      </pc:sldChg>
      <pc:sldChg chg="delSp modSp add mod">
        <pc:chgData name="Virginie PONCET" userId="ebcd993a-a2ce-4546-82a8-b8fa2d7b77e1" providerId="ADAL" clId="{E5B7E8CE-123C-4CA0-9A8C-CD46EC48866B}" dt="2023-10-20T07:04:55.744" v="695"/>
        <pc:sldMkLst>
          <pc:docMk/>
          <pc:sldMk cId="0" sldId="271"/>
        </pc:sldMkLst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5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6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7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8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9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1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4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5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6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7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8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9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20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21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2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2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24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25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26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27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28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29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30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31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3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3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34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35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36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37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38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39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40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41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4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4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44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45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46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47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48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49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50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51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5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5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54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55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56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57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58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59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60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61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6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6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64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65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66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67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68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69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70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71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7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7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74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75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76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77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78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79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80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81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8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8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84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85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86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87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88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89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90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91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9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9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94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95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96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97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98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99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00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01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0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0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04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05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06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07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08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09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10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11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1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1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14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15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16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17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18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19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20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21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2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2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24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25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26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27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28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29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30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31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3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3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34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35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36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37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38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39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40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41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4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44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45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46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47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48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49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50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51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54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55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56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58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59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60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61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6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6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64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65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66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67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68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69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70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71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7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7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74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76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77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78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79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80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81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8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84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87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88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89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90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91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9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9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94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95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96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97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98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199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200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201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20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20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204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205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206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207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208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209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210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211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21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21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214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215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216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217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218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219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220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221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22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22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224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1"/>
            <ac:spMk id="225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10T15:23:58.902" v="482" actId="478"/>
          <ac:spMkLst>
            <pc:docMk/>
            <pc:sldMk cId="0" sldId="271"/>
            <ac:spMk id="226" creationId="{00000000-0000-0000-0000-000000000000}"/>
          </ac:spMkLst>
        </pc:spChg>
        <pc:grpChg chg="mod">
          <ac:chgData name="Virginie PONCET" userId="ebcd993a-a2ce-4546-82a8-b8fa2d7b77e1" providerId="ADAL" clId="{E5B7E8CE-123C-4CA0-9A8C-CD46EC48866B}" dt="2023-10-20T07:04:55.744" v="695"/>
          <ac:grpSpMkLst>
            <pc:docMk/>
            <pc:sldMk cId="0" sldId="271"/>
            <ac:grpSpMk id="4" creationId="{00000000-0000-0000-0000-000000000000}"/>
          </ac:grpSpMkLst>
        </pc:grpChg>
        <pc:grpChg chg="mod">
          <ac:chgData name="Virginie PONCET" userId="ebcd993a-a2ce-4546-82a8-b8fa2d7b77e1" providerId="ADAL" clId="{E5B7E8CE-123C-4CA0-9A8C-CD46EC48866B}" dt="2023-10-20T07:04:55.744" v="695"/>
          <ac:grpSpMkLst>
            <pc:docMk/>
            <pc:sldMk cId="0" sldId="271"/>
            <ac:grpSpMk id="10" creationId="{00000000-0000-0000-0000-000000000000}"/>
          </ac:grpSpMkLst>
        </pc:grpChg>
        <pc:grpChg chg="mod">
          <ac:chgData name="Virginie PONCET" userId="ebcd993a-a2ce-4546-82a8-b8fa2d7b77e1" providerId="ADAL" clId="{E5B7E8CE-123C-4CA0-9A8C-CD46EC48866B}" dt="2023-10-20T07:04:55.744" v="695"/>
          <ac:grpSpMkLst>
            <pc:docMk/>
            <pc:sldMk cId="0" sldId="271"/>
            <ac:grpSpMk id="143" creationId="{00000000-0000-0000-0000-000000000000}"/>
          </ac:grpSpMkLst>
        </pc:grpChg>
        <pc:picChg chg="mod">
          <ac:chgData name="Virginie PONCET" userId="ebcd993a-a2ce-4546-82a8-b8fa2d7b77e1" providerId="ADAL" clId="{E5B7E8CE-123C-4CA0-9A8C-CD46EC48866B}" dt="2023-10-20T07:04:55.744" v="695"/>
          <ac:picMkLst>
            <pc:docMk/>
            <pc:sldMk cId="0" sldId="271"/>
            <ac:picMk id="152" creationId="{00000000-0000-0000-0000-000000000000}"/>
          </ac:picMkLst>
        </pc:picChg>
        <pc:picChg chg="mod">
          <ac:chgData name="Virginie PONCET" userId="ebcd993a-a2ce-4546-82a8-b8fa2d7b77e1" providerId="ADAL" clId="{E5B7E8CE-123C-4CA0-9A8C-CD46EC48866B}" dt="2023-10-20T07:04:55.744" v="695"/>
          <ac:picMkLst>
            <pc:docMk/>
            <pc:sldMk cId="0" sldId="271"/>
            <ac:picMk id="153" creationId="{00000000-0000-0000-0000-000000000000}"/>
          </ac:picMkLst>
        </pc:picChg>
        <pc:picChg chg="mod">
          <ac:chgData name="Virginie PONCET" userId="ebcd993a-a2ce-4546-82a8-b8fa2d7b77e1" providerId="ADAL" clId="{E5B7E8CE-123C-4CA0-9A8C-CD46EC48866B}" dt="2023-10-20T07:04:55.744" v="695"/>
          <ac:picMkLst>
            <pc:docMk/>
            <pc:sldMk cId="0" sldId="271"/>
            <ac:picMk id="157" creationId="{00000000-0000-0000-0000-000000000000}"/>
          </ac:picMkLst>
        </pc:picChg>
        <pc:picChg chg="mod">
          <ac:chgData name="Virginie PONCET" userId="ebcd993a-a2ce-4546-82a8-b8fa2d7b77e1" providerId="ADAL" clId="{E5B7E8CE-123C-4CA0-9A8C-CD46EC48866B}" dt="2023-10-20T07:04:55.744" v="695"/>
          <ac:picMkLst>
            <pc:docMk/>
            <pc:sldMk cId="0" sldId="271"/>
            <ac:picMk id="175" creationId="{00000000-0000-0000-0000-000000000000}"/>
          </ac:picMkLst>
        </pc:picChg>
        <pc:picChg chg="mod">
          <ac:chgData name="Virginie PONCET" userId="ebcd993a-a2ce-4546-82a8-b8fa2d7b77e1" providerId="ADAL" clId="{E5B7E8CE-123C-4CA0-9A8C-CD46EC48866B}" dt="2023-10-20T07:04:55.744" v="695"/>
          <ac:picMkLst>
            <pc:docMk/>
            <pc:sldMk cId="0" sldId="271"/>
            <ac:picMk id="183" creationId="{00000000-0000-0000-0000-000000000000}"/>
          </ac:picMkLst>
        </pc:picChg>
        <pc:picChg chg="mod">
          <ac:chgData name="Virginie PONCET" userId="ebcd993a-a2ce-4546-82a8-b8fa2d7b77e1" providerId="ADAL" clId="{E5B7E8CE-123C-4CA0-9A8C-CD46EC48866B}" dt="2023-10-20T07:04:55.744" v="695"/>
          <ac:picMkLst>
            <pc:docMk/>
            <pc:sldMk cId="0" sldId="271"/>
            <ac:picMk id="185" creationId="{00000000-0000-0000-0000-000000000000}"/>
          </ac:picMkLst>
        </pc:picChg>
        <pc:picChg chg="mod">
          <ac:chgData name="Virginie PONCET" userId="ebcd993a-a2ce-4546-82a8-b8fa2d7b77e1" providerId="ADAL" clId="{E5B7E8CE-123C-4CA0-9A8C-CD46EC48866B}" dt="2023-10-20T07:04:55.744" v="695"/>
          <ac:picMkLst>
            <pc:docMk/>
            <pc:sldMk cId="0" sldId="271"/>
            <ac:picMk id="186" creationId="{00000000-0000-0000-0000-000000000000}"/>
          </ac:picMkLst>
        </pc:picChg>
      </pc:sldChg>
      <pc:sldChg chg="del">
        <pc:chgData name="Virginie PONCET" userId="ebcd993a-a2ce-4546-82a8-b8fa2d7b77e1" providerId="ADAL" clId="{E5B7E8CE-123C-4CA0-9A8C-CD46EC48866B}" dt="2023-10-10T15:13:43.780" v="134" actId="47"/>
        <pc:sldMkLst>
          <pc:docMk/>
          <pc:sldMk cId="0" sldId="273"/>
        </pc:sldMkLst>
      </pc:sldChg>
      <pc:sldChg chg="add del">
        <pc:chgData name="Virginie PONCET" userId="ebcd993a-a2ce-4546-82a8-b8fa2d7b77e1" providerId="ADAL" clId="{E5B7E8CE-123C-4CA0-9A8C-CD46EC48866B}" dt="2023-10-10T15:27:11.452" v="484"/>
        <pc:sldMkLst>
          <pc:docMk/>
          <pc:sldMk cId="0" sldId="274"/>
        </pc:sldMkLst>
      </pc:sldChg>
      <pc:sldChg chg="modSp add mod">
        <pc:chgData name="Virginie PONCET" userId="ebcd993a-a2ce-4546-82a8-b8fa2d7b77e1" providerId="ADAL" clId="{E5B7E8CE-123C-4CA0-9A8C-CD46EC48866B}" dt="2023-10-20T07:04:55.744" v="695"/>
        <pc:sldMkLst>
          <pc:docMk/>
          <pc:sldMk cId="0" sldId="275"/>
        </pc:sldMkLst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5"/>
            <ac:spMk id="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5"/>
            <ac:spMk id="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5"/>
            <ac:spMk id="5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5"/>
            <ac:spMk id="6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5"/>
            <ac:spMk id="8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5"/>
            <ac:spMk id="10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5"/>
            <ac:spMk id="1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5"/>
            <ac:spMk id="1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5"/>
            <ac:spMk id="15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5"/>
            <ac:spMk id="17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5"/>
            <ac:spMk id="19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5"/>
            <ac:spMk id="21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5"/>
            <ac:spMk id="2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5"/>
            <ac:spMk id="2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5"/>
            <ac:spMk id="24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5"/>
            <ac:spMk id="25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5"/>
            <ac:spMk id="26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275"/>
            <ac:spMk id="27" creationId="{00000000-0000-0000-0000-000000000000}"/>
          </ac:spMkLst>
        </pc:spChg>
        <pc:grpChg chg="mod">
          <ac:chgData name="Virginie PONCET" userId="ebcd993a-a2ce-4546-82a8-b8fa2d7b77e1" providerId="ADAL" clId="{E5B7E8CE-123C-4CA0-9A8C-CD46EC48866B}" dt="2023-10-20T07:04:55.744" v="695"/>
          <ac:grpSpMkLst>
            <pc:docMk/>
            <pc:sldMk cId="0" sldId="275"/>
            <ac:grpSpMk id="4" creationId="{00000000-0000-0000-0000-000000000000}"/>
          </ac:grpSpMkLst>
        </pc:grpChg>
        <pc:grpChg chg="mod">
          <ac:chgData name="Virginie PONCET" userId="ebcd993a-a2ce-4546-82a8-b8fa2d7b77e1" providerId="ADAL" clId="{E5B7E8CE-123C-4CA0-9A8C-CD46EC48866B}" dt="2023-10-20T07:04:55.744" v="695"/>
          <ac:grpSpMkLst>
            <pc:docMk/>
            <pc:sldMk cId="0" sldId="275"/>
            <ac:grpSpMk id="7" creationId="{00000000-0000-0000-0000-000000000000}"/>
          </ac:grpSpMkLst>
        </pc:grpChg>
        <pc:picChg chg="mod">
          <ac:chgData name="Virginie PONCET" userId="ebcd993a-a2ce-4546-82a8-b8fa2d7b77e1" providerId="ADAL" clId="{E5B7E8CE-123C-4CA0-9A8C-CD46EC48866B}" dt="2023-10-20T07:04:55.744" v="695"/>
          <ac:picMkLst>
            <pc:docMk/>
            <pc:sldMk cId="0" sldId="275"/>
            <ac:picMk id="9" creationId="{00000000-0000-0000-0000-000000000000}"/>
          </ac:picMkLst>
        </pc:picChg>
        <pc:picChg chg="mod">
          <ac:chgData name="Virginie PONCET" userId="ebcd993a-a2ce-4546-82a8-b8fa2d7b77e1" providerId="ADAL" clId="{E5B7E8CE-123C-4CA0-9A8C-CD46EC48866B}" dt="2023-10-20T07:04:55.744" v="695"/>
          <ac:picMkLst>
            <pc:docMk/>
            <pc:sldMk cId="0" sldId="275"/>
            <ac:picMk id="11" creationId="{00000000-0000-0000-0000-000000000000}"/>
          </ac:picMkLst>
        </pc:picChg>
        <pc:picChg chg="mod">
          <ac:chgData name="Virginie PONCET" userId="ebcd993a-a2ce-4546-82a8-b8fa2d7b77e1" providerId="ADAL" clId="{E5B7E8CE-123C-4CA0-9A8C-CD46EC48866B}" dt="2023-10-20T07:04:55.744" v="695"/>
          <ac:picMkLst>
            <pc:docMk/>
            <pc:sldMk cId="0" sldId="275"/>
            <ac:picMk id="14" creationId="{00000000-0000-0000-0000-000000000000}"/>
          </ac:picMkLst>
        </pc:picChg>
        <pc:picChg chg="mod">
          <ac:chgData name="Virginie PONCET" userId="ebcd993a-a2ce-4546-82a8-b8fa2d7b77e1" providerId="ADAL" clId="{E5B7E8CE-123C-4CA0-9A8C-CD46EC48866B}" dt="2023-10-20T07:04:55.744" v="695"/>
          <ac:picMkLst>
            <pc:docMk/>
            <pc:sldMk cId="0" sldId="275"/>
            <ac:picMk id="16" creationId="{00000000-0000-0000-0000-000000000000}"/>
          </ac:picMkLst>
        </pc:picChg>
        <pc:picChg chg="mod">
          <ac:chgData name="Virginie PONCET" userId="ebcd993a-a2ce-4546-82a8-b8fa2d7b77e1" providerId="ADAL" clId="{E5B7E8CE-123C-4CA0-9A8C-CD46EC48866B}" dt="2023-10-20T07:04:55.744" v="695"/>
          <ac:picMkLst>
            <pc:docMk/>
            <pc:sldMk cId="0" sldId="275"/>
            <ac:picMk id="18" creationId="{00000000-0000-0000-0000-000000000000}"/>
          </ac:picMkLst>
        </pc:picChg>
        <pc:picChg chg="mod">
          <ac:chgData name="Virginie PONCET" userId="ebcd993a-a2ce-4546-82a8-b8fa2d7b77e1" providerId="ADAL" clId="{E5B7E8CE-123C-4CA0-9A8C-CD46EC48866B}" dt="2023-10-20T07:04:55.744" v="695"/>
          <ac:picMkLst>
            <pc:docMk/>
            <pc:sldMk cId="0" sldId="275"/>
            <ac:picMk id="20" creationId="{00000000-0000-0000-0000-000000000000}"/>
          </ac:picMkLst>
        </pc:picChg>
      </pc:sldChg>
      <pc:sldChg chg="modSp mod modNotes">
        <pc:chgData name="Virginie PONCET" userId="ebcd993a-a2ce-4546-82a8-b8fa2d7b77e1" providerId="ADAL" clId="{E5B7E8CE-123C-4CA0-9A8C-CD46EC48866B}" dt="2023-10-20T07:04:55.744" v="695"/>
        <pc:sldMkLst>
          <pc:docMk/>
          <pc:sldMk cId="2978267047" sldId="299"/>
        </pc:sldMkLst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2978267047" sldId="299"/>
            <ac:spMk id="5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2978267047" sldId="299"/>
            <ac:spMk id="7" creationId="{00000000-0000-0000-0000-000000000000}"/>
          </ac:spMkLst>
        </pc:spChg>
      </pc:sldChg>
      <pc:sldChg chg="modSp">
        <pc:chgData name="Virginie PONCET" userId="ebcd993a-a2ce-4546-82a8-b8fa2d7b77e1" providerId="ADAL" clId="{E5B7E8CE-123C-4CA0-9A8C-CD46EC48866B}" dt="2023-10-20T07:04:55.744" v="695"/>
        <pc:sldMkLst>
          <pc:docMk/>
          <pc:sldMk cId="462974486" sldId="337"/>
        </pc:sldMkLst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462974486" sldId="337"/>
            <ac:spMk id="3" creationId="{00000000-0000-0000-0000-000000000000}"/>
          </ac:spMkLst>
        </pc:spChg>
      </pc:sldChg>
      <pc:sldChg chg="modSp mod">
        <pc:chgData name="Virginie PONCET" userId="ebcd993a-a2ce-4546-82a8-b8fa2d7b77e1" providerId="ADAL" clId="{E5B7E8CE-123C-4CA0-9A8C-CD46EC48866B}" dt="2023-10-20T07:04:55.744" v="695"/>
        <pc:sldMkLst>
          <pc:docMk/>
          <pc:sldMk cId="4137056731" sldId="338"/>
        </pc:sldMkLst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4137056731" sldId="338"/>
            <ac:spMk id="3" creationId="{00000000-0000-0000-0000-000000000000}"/>
          </ac:spMkLst>
        </pc:spChg>
      </pc:sldChg>
      <pc:sldChg chg="modSp mod">
        <pc:chgData name="Virginie PONCET" userId="ebcd993a-a2ce-4546-82a8-b8fa2d7b77e1" providerId="ADAL" clId="{E5B7E8CE-123C-4CA0-9A8C-CD46EC48866B}" dt="2023-10-20T07:04:55.744" v="695"/>
        <pc:sldMkLst>
          <pc:docMk/>
          <pc:sldMk cId="1619539151" sldId="339"/>
        </pc:sldMkLst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1619539151" sldId="339"/>
            <ac:spMk id="3" creationId="{00000000-0000-0000-0000-000000000000}"/>
          </ac:spMkLst>
        </pc:spChg>
      </pc:sldChg>
      <pc:sldChg chg="modSp mod">
        <pc:chgData name="Virginie PONCET" userId="ebcd993a-a2ce-4546-82a8-b8fa2d7b77e1" providerId="ADAL" clId="{E5B7E8CE-123C-4CA0-9A8C-CD46EC48866B}" dt="2023-10-20T07:04:55.744" v="695"/>
        <pc:sldMkLst>
          <pc:docMk/>
          <pc:sldMk cId="3610177564" sldId="340"/>
        </pc:sldMkLst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610177564" sldId="340"/>
            <ac:spMk id="3" creationId="{00000000-0000-0000-0000-000000000000}"/>
          </ac:spMkLst>
        </pc:spChg>
      </pc:sldChg>
      <pc:sldChg chg="modSp modNotes">
        <pc:chgData name="Virginie PONCET" userId="ebcd993a-a2ce-4546-82a8-b8fa2d7b77e1" providerId="ADAL" clId="{E5B7E8CE-123C-4CA0-9A8C-CD46EC48866B}" dt="2023-10-20T07:04:55.744" v="695"/>
        <pc:sldMkLst>
          <pc:docMk/>
          <pc:sldMk cId="3619404808" sldId="342"/>
        </pc:sldMkLst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619404808" sldId="342"/>
            <ac:spMk id="5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619404808" sldId="342"/>
            <ac:spMk id="13" creationId="{104604B7-90C9-49F3-A7F7-75EEB7154F96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619404808" sldId="342"/>
            <ac:spMk id="14" creationId="{2A17D2B9-ABD6-48F6-BB99-4B35BF3D762F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619404808" sldId="342"/>
            <ac:spMk id="18" creationId="{C3CA9F79-A724-4449-B362-D33AF38D50C7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619404808" sldId="342"/>
            <ac:spMk id="39" creationId="{040733E9-5AC6-4425-A6E0-2CCCCA96A6B9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619404808" sldId="342"/>
            <ac:spMk id="40" creationId="{D41C0E32-4592-4302-9AE4-D15CF2E393D4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619404808" sldId="342"/>
            <ac:spMk id="41" creationId="{84852768-9FAC-4D08-ACC0-6E6121E7522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619404808" sldId="342"/>
            <ac:spMk id="42" creationId="{9828B2A0-CB4A-4ACB-BD3E-C62B511879FA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619404808" sldId="342"/>
            <ac:spMk id="43" creationId="{CADE1221-CD5B-4378-9BF3-92C6AE0C0B0B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619404808" sldId="342"/>
            <ac:spMk id="44" creationId="{14B955EF-67A3-4CCD-9A2D-B0170213F146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619404808" sldId="342"/>
            <ac:spMk id="45" creationId="{2F422E4E-408D-4287-90BC-C42250870405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619404808" sldId="342"/>
            <ac:spMk id="47" creationId="{C19366DE-C18F-4287-B1CE-982C20173B0A}"/>
          </ac:spMkLst>
        </pc:spChg>
      </pc:sldChg>
      <pc:sldChg chg="modSp modNotes">
        <pc:chgData name="Virginie PONCET" userId="ebcd993a-a2ce-4546-82a8-b8fa2d7b77e1" providerId="ADAL" clId="{E5B7E8CE-123C-4CA0-9A8C-CD46EC48866B}" dt="2023-10-20T07:04:55.744" v="695"/>
        <pc:sldMkLst>
          <pc:docMk/>
          <pc:sldMk cId="3133806753" sldId="343"/>
        </pc:sldMkLst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133806753" sldId="343"/>
            <ac:spMk id="4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133806753" sldId="343"/>
            <ac:spMk id="5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133806753" sldId="343"/>
            <ac:spMk id="31" creationId="{DE094A6A-C980-48A4-99C9-AE68CD6D70F7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133806753" sldId="343"/>
            <ac:spMk id="32" creationId="{1AFF25FC-E7DA-4AAC-A2FE-482F3ED166AF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133806753" sldId="343"/>
            <ac:spMk id="34" creationId="{6A6AAA37-329E-4EE3-9C28-86BEB0D9816B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133806753" sldId="343"/>
            <ac:spMk id="35" creationId="{78338A1E-8F78-4797-9155-7BF42782E0C7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133806753" sldId="343"/>
            <ac:spMk id="36" creationId="{144564F1-DB52-498B-9E5A-95151251E6F6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133806753" sldId="343"/>
            <ac:spMk id="37" creationId="{C6EE4FB7-2DE8-4CAB-8599-5ADEDC922EAB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133806753" sldId="343"/>
            <ac:spMk id="38" creationId="{1642497C-774C-463A-8787-625F7B26D80A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133806753" sldId="343"/>
            <ac:spMk id="39" creationId="{89143046-9F45-48DA-A278-3C66992B9F39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133806753" sldId="343"/>
            <ac:spMk id="40" creationId="{DB6BD7BB-70CD-4E5E-ABAA-D8C5ADA7C0BE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133806753" sldId="343"/>
            <ac:spMk id="41" creationId="{CC92AA23-422F-4292-9692-11B8C66A7198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133806753" sldId="343"/>
            <ac:spMk id="43" creationId="{B82807CF-0A17-411C-8156-D709B7060301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133806753" sldId="343"/>
            <ac:spMk id="44" creationId="{0205DE9A-FB8E-489F-9E5C-C8D3E5CCF72D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133806753" sldId="343"/>
            <ac:spMk id="45" creationId="{5DE04BBB-2281-4F33-AC3E-3FF86A2C3F49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133806753" sldId="343"/>
            <ac:spMk id="46" creationId="{77DDC916-DBEC-49FE-BDF6-B663AE01884E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133806753" sldId="343"/>
            <ac:spMk id="47" creationId="{59BA375C-1F62-4358-8108-CA65A7599781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133806753" sldId="343"/>
            <ac:spMk id="48" creationId="{F063990B-D7B4-4DDC-B1A2-515B4AF9F0A3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133806753" sldId="343"/>
            <ac:spMk id="49" creationId="{F72E9368-1E0C-4BDC-89D2-90F40E3ADD6F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133806753" sldId="343"/>
            <ac:spMk id="50" creationId="{7CFACD7E-621A-45E3-9720-D31629D82409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133806753" sldId="343"/>
            <ac:spMk id="301" creationId="{31E339D4-D549-426A-B8DD-CF820229BC01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133806753" sldId="343"/>
            <ac:spMk id="302" creationId="{54FBA78D-469F-40DD-81E5-A97B615FED1C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133806753" sldId="343"/>
            <ac:spMk id="303" creationId="{350B49A0-A508-4C96-A7F6-CF6816AE02C8}"/>
          </ac:spMkLst>
        </pc:spChg>
        <pc:picChg chg="mod">
          <ac:chgData name="Virginie PONCET" userId="ebcd993a-a2ce-4546-82a8-b8fa2d7b77e1" providerId="ADAL" clId="{E5B7E8CE-123C-4CA0-9A8C-CD46EC48866B}" dt="2023-10-20T07:04:55.744" v="695"/>
          <ac:picMkLst>
            <pc:docMk/>
            <pc:sldMk cId="3133806753" sldId="343"/>
            <ac:picMk id="33" creationId="{F615F1DF-D547-4560-AFDA-09CBDD0B5948}"/>
          </ac:picMkLst>
        </pc:picChg>
        <pc:cxnChg chg="mod">
          <ac:chgData name="Virginie PONCET" userId="ebcd993a-a2ce-4546-82a8-b8fa2d7b77e1" providerId="ADAL" clId="{E5B7E8CE-123C-4CA0-9A8C-CD46EC48866B}" dt="2023-10-20T07:04:55.744" v="695"/>
          <ac:cxnSpMkLst>
            <pc:docMk/>
            <pc:sldMk cId="3133806753" sldId="343"/>
            <ac:cxnSpMk id="307" creationId="{1175702E-7288-4FC7-BB60-D56B416FFDC3}"/>
          </ac:cxnSpMkLst>
        </pc:cxnChg>
        <pc:cxnChg chg="mod">
          <ac:chgData name="Virginie PONCET" userId="ebcd993a-a2ce-4546-82a8-b8fa2d7b77e1" providerId="ADAL" clId="{E5B7E8CE-123C-4CA0-9A8C-CD46EC48866B}" dt="2023-10-20T07:04:55.744" v="695"/>
          <ac:cxnSpMkLst>
            <pc:docMk/>
            <pc:sldMk cId="3133806753" sldId="343"/>
            <ac:cxnSpMk id="309" creationId="{CF4800CE-018D-4963-BD47-BA7DFCE3D9B1}"/>
          </ac:cxnSpMkLst>
        </pc:cxnChg>
        <pc:cxnChg chg="mod">
          <ac:chgData name="Virginie PONCET" userId="ebcd993a-a2ce-4546-82a8-b8fa2d7b77e1" providerId="ADAL" clId="{E5B7E8CE-123C-4CA0-9A8C-CD46EC48866B}" dt="2023-10-20T07:04:55.744" v="695"/>
          <ac:cxnSpMkLst>
            <pc:docMk/>
            <pc:sldMk cId="3133806753" sldId="343"/>
            <ac:cxnSpMk id="311" creationId="{27411682-5FD4-4DFE-B8BE-30F7744E0F0A}"/>
          </ac:cxnSpMkLst>
        </pc:cxnChg>
        <pc:cxnChg chg="mod">
          <ac:chgData name="Virginie PONCET" userId="ebcd993a-a2ce-4546-82a8-b8fa2d7b77e1" providerId="ADAL" clId="{E5B7E8CE-123C-4CA0-9A8C-CD46EC48866B}" dt="2023-10-20T07:04:55.744" v="695"/>
          <ac:cxnSpMkLst>
            <pc:docMk/>
            <pc:sldMk cId="3133806753" sldId="343"/>
            <ac:cxnSpMk id="315" creationId="{B261FDBC-7165-4BC1-8BFC-906ACABAD332}"/>
          </ac:cxnSpMkLst>
        </pc:cxnChg>
        <pc:cxnChg chg="mod">
          <ac:chgData name="Virginie PONCET" userId="ebcd993a-a2ce-4546-82a8-b8fa2d7b77e1" providerId="ADAL" clId="{E5B7E8CE-123C-4CA0-9A8C-CD46EC48866B}" dt="2023-10-20T07:04:55.744" v="695"/>
          <ac:cxnSpMkLst>
            <pc:docMk/>
            <pc:sldMk cId="3133806753" sldId="343"/>
            <ac:cxnSpMk id="317" creationId="{4743356D-65C1-4A62-926A-29C8C2AECD8B}"/>
          </ac:cxnSpMkLst>
        </pc:cxnChg>
      </pc:sldChg>
      <pc:sldChg chg="del">
        <pc:chgData name="Virginie PONCET" userId="ebcd993a-a2ce-4546-82a8-b8fa2d7b77e1" providerId="ADAL" clId="{E5B7E8CE-123C-4CA0-9A8C-CD46EC48866B}" dt="2023-10-10T15:11:00.145" v="64" actId="47"/>
        <pc:sldMkLst>
          <pc:docMk/>
          <pc:sldMk cId="236547496" sldId="344"/>
        </pc:sldMkLst>
      </pc:sldChg>
      <pc:sldChg chg="del">
        <pc:chgData name="Virginie PONCET" userId="ebcd993a-a2ce-4546-82a8-b8fa2d7b77e1" providerId="ADAL" clId="{E5B7E8CE-123C-4CA0-9A8C-CD46EC48866B}" dt="2023-10-10T15:11:43.521" v="114" actId="47"/>
        <pc:sldMkLst>
          <pc:docMk/>
          <pc:sldMk cId="1342060737" sldId="349"/>
        </pc:sldMkLst>
      </pc:sldChg>
      <pc:sldChg chg="modSp add del ord modNotes">
        <pc:chgData name="Virginie PONCET" userId="ebcd993a-a2ce-4546-82a8-b8fa2d7b77e1" providerId="ADAL" clId="{E5B7E8CE-123C-4CA0-9A8C-CD46EC48866B}" dt="2023-10-20T07:04:55.744" v="695"/>
        <pc:sldMkLst>
          <pc:docMk/>
          <pc:sldMk cId="483477197" sldId="350"/>
        </pc:sldMkLst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483477197" sldId="350"/>
            <ac:spMk id="3" creationId="{39069642-E21D-C1C3-9EF1-510E99B28F31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483477197" sldId="350"/>
            <ac:spMk id="4" creationId="{BC39DF67-23E9-E4D1-B424-292A7F7FEE57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483477197" sldId="350"/>
            <ac:spMk id="7" creationId="{C29C41AC-6FA3-A148-7334-64E199F22EF5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483477197" sldId="350"/>
            <ac:spMk id="8" creationId="{B3A1A5F5-253D-1455-A091-79BF1715FBF5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483477197" sldId="350"/>
            <ac:spMk id="11" creationId="{4C922AE4-36AE-44FB-BF35-84752FD8F219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483477197" sldId="350"/>
            <ac:spMk id="12" creationId="{0AE13D6A-EE3F-4AB3-B030-050ADBB191C7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483477197" sldId="350"/>
            <ac:spMk id="13" creationId="{C3955694-C9D3-40C1-82E0-5395C92278E3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483477197" sldId="350"/>
            <ac:spMk id="27" creationId="{EBF240E8-CBC7-4AF7-BEE5-4729D6F54012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483477197" sldId="350"/>
            <ac:spMk id="28" creationId="{89416FFE-D5B3-49FE-81DF-D953FD7EF1FA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483477197" sldId="350"/>
            <ac:spMk id="30" creationId="{3CFDE9DB-2BD3-4E8C-A3EB-63EC96C9D968}"/>
          </ac:spMkLst>
        </pc:spChg>
        <pc:picChg chg="mod">
          <ac:chgData name="Virginie PONCET" userId="ebcd993a-a2ce-4546-82a8-b8fa2d7b77e1" providerId="ADAL" clId="{E5B7E8CE-123C-4CA0-9A8C-CD46EC48866B}" dt="2023-10-20T07:04:55.744" v="695"/>
          <ac:picMkLst>
            <pc:docMk/>
            <pc:sldMk cId="483477197" sldId="350"/>
            <ac:picMk id="25" creationId="{4A391AC5-E394-4B0C-80F2-C30BA3AACCCD}"/>
          </ac:picMkLst>
        </pc:picChg>
        <pc:picChg chg="mod">
          <ac:chgData name="Virginie PONCET" userId="ebcd993a-a2ce-4546-82a8-b8fa2d7b77e1" providerId="ADAL" clId="{E5B7E8CE-123C-4CA0-9A8C-CD46EC48866B}" dt="2023-10-20T07:04:55.744" v="695"/>
          <ac:picMkLst>
            <pc:docMk/>
            <pc:sldMk cId="483477197" sldId="350"/>
            <ac:picMk id="26" creationId="{1FBE27BA-102C-4C4E-B5EE-4D7AA9EB6EB4}"/>
          </ac:picMkLst>
        </pc:picChg>
      </pc:sldChg>
      <pc:sldChg chg="del">
        <pc:chgData name="Virginie PONCET" userId="ebcd993a-a2ce-4546-82a8-b8fa2d7b77e1" providerId="ADAL" clId="{E5B7E8CE-123C-4CA0-9A8C-CD46EC48866B}" dt="2023-10-10T15:12:36.582" v="127" actId="47"/>
        <pc:sldMkLst>
          <pc:docMk/>
          <pc:sldMk cId="274459055" sldId="356"/>
        </pc:sldMkLst>
      </pc:sldChg>
      <pc:sldChg chg="del">
        <pc:chgData name="Virginie PONCET" userId="ebcd993a-a2ce-4546-82a8-b8fa2d7b77e1" providerId="ADAL" clId="{E5B7E8CE-123C-4CA0-9A8C-CD46EC48866B}" dt="2023-10-10T15:12:38.709" v="128" actId="47"/>
        <pc:sldMkLst>
          <pc:docMk/>
          <pc:sldMk cId="3123742323" sldId="359"/>
        </pc:sldMkLst>
      </pc:sldChg>
      <pc:sldChg chg="del">
        <pc:chgData name="Virginie PONCET" userId="ebcd993a-a2ce-4546-82a8-b8fa2d7b77e1" providerId="ADAL" clId="{E5B7E8CE-123C-4CA0-9A8C-CD46EC48866B}" dt="2023-10-10T15:12:39.961" v="129" actId="47"/>
        <pc:sldMkLst>
          <pc:docMk/>
          <pc:sldMk cId="294211617" sldId="360"/>
        </pc:sldMkLst>
      </pc:sldChg>
      <pc:sldChg chg="del">
        <pc:chgData name="Virginie PONCET" userId="ebcd993a-a2ce-4546-82a8-b8fa2d7b77e1" providerId="ADAL" clId="{E5B7E8CE-123C-4CA0-9A8C-CD46EC48866B}" dt="2023-10-10T15:13:46.919" v="135" actId="47"/>
        <pc:sldMkLst>
          <pc:docMk/>
          <pc:sldMk cId="823223261" sldId="362"/>
        </pc:sldMkLst>
      </pc:sldChg>
      <pc:sldChg chg="modSp del">
        <pc:chgData name="Virginie PONCET" userId="ebcd993a-a2ce-4546-82a8-b8fa2d7b77e1" providerId="ADAL" clId="{E5B7E8CE-123C-4CA0-9A8C-CD46EC48866B}" dt="2023-10-20T07:39:56.742" v="1969" actId="47"/>
        <pc:sldMkLst>
          <pc:docMk/>
          <pc:sldMk cId="0" sldId="801"/>
        </pc:sldMkLst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801"/>
            <ac:spMk id="2" creationId="{883F669E-EE45-4E5C-AD36-78077FA0D156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0" sldId="801"/>
            <ac:spMk id="185346" creationId="{24A53F21-869C-4F80-874E-45658CEF2706}"/>
          </ac:spMkLst>
        </pc:spChg>
      </pc:sldChg>
      <pc:sldChg chg="modSp modNotes">
        <pc:chgData name="Virginie PONCET" userId="ebcd993a-a2ce-4546-82a8-b8fa2d7b77e1" providerId="ADAL" clId="{E5B7E8CE-123C-4CA0-9A8C-CD46EC48866B}" dt="2023-10-20T07:04:55.744" v="695"/>
        <pc:sldMkLst>
          <pc:docMk/>
          <pc:sldMk cId="245274946" sldId="1580"/>
        </pc:sldMkLst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245274946" sldId="1580"/>
            <ac:spMk id="4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245274946" sldId="1580"/>
            <ac:spMk id="5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245274946" sldId="1580"/>
            <ac:spMk id="7" creationId="{FE052E61-3FC5-4545-82FA-0AD7AD24DCF8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245274946" sldId="1580"/>
            <ac:spMk id="10" creationId="{AFCB064B-A888-4883-A68A-68EEE949CF2A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245274946" sldId="1580"/>
            <ac:spMk id="11" creationId="{C4CBC0F3-B7A7-4E28-B533-9D09EE4BC5E5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245274946" sldId="1580"/>
            <ac:spMk id="13" creationId="{5B7E1748-C1E2-424F-A435-AB78F9DAFEAE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245274946" sldId="1580"/>
            <ac:spMk id="14" creationId="{E35056F4-1498-4AFC-AA87-F0BB2F4EB29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245274946" sldId="1580"/>
            <ac:spMk id="16" creationId="{EDD156ED-D899-4917-AB79-CA86E31682F4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245274946" sldId="1580"/>
            <ac:spMk id="17" creationId="{EA3FF882-EE14-4B97-9F2F-609462D53864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245274946" sldId="1580"/>
            <ac:spMk id="18" creationId="{3473E01E-D6EF-44E8-A9A6-387FE395CD8D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245274946" sldId="1580"/>
            <ac:spMk id="19" creationId="{1C64F784-003E-4C7E-8C80-73A5ACA365F4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245274946" sldId="1580"/>
            <ac:spMk id="20" creationId="{41E9EA3D-9829-4DC6-9424-0664D3A424BA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245274946" sldId="1580"/>
            <ac:spMk id="21" creationId="{34956B73-791F-4F18-90C6-26BA422C456F}"/>
          </ac:spMkLst>
        </pc:spChg>
        <pc:grpChg chg="mod">
          <ac:chgData name="Virginie PONCET" userId="ebcd993a-a2ce-4546-82a8-b8fa2d7b77e1" providerId="ADAL" clId="{E5B7E8CE-123C-4CA0-9A8C-CD46EC48866B}" dt="2023-10-20T07:04:55.744" v="695"/>
          <ac:grpSpMkLst>
            <pc:docMk/>
            <pc:sldMk cId="245274946" sldId="1580"/>
            <ac:grpSpMk id="9" creationId="{2A0063F1-FF6B-467D-AE02-2832B11DB6FB}"/>
          </ac:grpSpMkLst>
        </pc:grpChg>
        <pc:grpChg chg="mod">
          <ac:chgData name="Virginie PONCET" userId="ebcd993a-a2ce-4546-82a8-b8fa2d7b77e1" providerId="ADAL" clId="{E5B7E8CE-123C-4CA0-9A8C-CD46EC48866B}" dt="2023-10-20T07:04:55.744" v="695"/>
          <ac:grpSpMkLst>
            <pc:docMk/>
            <pc:sldMk cId="245274946" sldId="1580"/>
            <ac:grpSpMk id="12" creationId="{9BFCB626-75EB-428C-98D3-5A190224D39E}"/>
          </ac:grpSpMkLst>
        </pc:grpChg>
        <pc:grpChg chg="mod">
          <ac:chgData name="Virginie PONCET" userId="ebcd993a-a2ce-4546-82a8-b8fa2d7b77e1" providerId="ADAL" clId="{E5B7E8CE-123C-4CA0-9A8C-CD46EC48866B}" dt="2023-10-20T07:04:55.744" v="695"/>
          <ac:grpSpMkLst>
            <pc:docMk/>
            <pc:sldMk cId="245274946" sldId="1580"/>
            <ac:grpSpMk id="15" creationId="{63A3C6D8-088B-45C3-B2FC-9BE7EFAAF277}"/>
          </ac:grpSpMkLst>
        </pc:grpChg>
        <pc:picChg chg="mod">
          <ac:chgData name="Virginie PONCET" userId="ebcd993a-a2ce-4546-82a8-b8fa2d7b77e1" providerId="ADAL" clId="{E5B7E8CE-123C-4CA0-9A8C-CD46EC48866B}" dt="2023-10-20T07:04:55.744" v="695"/>
          <ac:picMkLst>
            <pc:docMk/>
            <pc:sldMk cId="245274946" sldId="1580"/>
            <ac:picMk id="22" creationId="{25F125B7-E606-04DD-DB5E-7695D2E2414E}"/>
          </ac:picMkLst>
        </pc:picChg>
      </pc:sldChg>
      <pc:sldChg chg="del">
        <pc:chgData name="Virginie PONCET" userId="ebcd993a-a2ce-4546-82a8-b8fa2d7b77e1" providerId="ADAL" clId="{E5B7E8CE-123C-4CA0-9A8C-CD46EC48866B}" dt="2023-10-10T15:11:04.277" v="65" actId="47"/>
        <pc:sldMkLst>
          <pc:docMk/>
          <pc:sldMk cId="2474840419" sldId="1587"/>
        </pc:sldMkLst>
      </pc:sldChg>
      <pc:sldChg chg="del">
        <pc:chgData name="Virginie PONCET" userId="ebcd993a-a2ce-4546-82a8-b8fa2d7b77e1" providerId="ADAL" clId="{E5B7E8CE-123C-4CA0-9A8C-CD46EC48866B}" dt="2023-10-10T15:12:34.947" v="126" actId="47"/>
        <pc:sldMkLst>
          <pc:docMk/>
          <pc:sldMk cId="1394747852" sldId="1596"/>
        </pc:sldMkLst>
      </pc:sldChg>
      <pc:sldChg chg="del">
        <pc:chgData name="Virginie PONCET" userId="ebcd993a-a2ce-4546-82a8-b8fa2d7b77e1" providerId="ADAL" clId="{E5B7E8CE-123C-4CA0-9A8C-CD46EC48866B}" dt="2023-10-10T15:13:42.096" v="133" actId="47"/>
        <pc:sldMkLst>
          <pc:docMk/>
          <pc:sldMk cId="596822363" sldId="3943"/>
        </pc:sldMkLst>
      </pc:sldChg>
      <pc:sldChg chg="del">
        <pc:chgData name="Virginie PONCET" userId="ebcd993a-a2ce-4546-82a8-b8fa2d7b77e1" providerId="ADAL" clId="{E5B7E8CE-123C-4CA0-9A8C-CD46EC48866B}" dt="2023-10-10T15:13:49.541" v="136" actId="47"/>
        <pc:sldMkLst>
          <pc:docMk/>
          <pc:sldMk cId="3065012018" sldId="3944"/>
        </pc:sldMkLst>
      </pc:sldChg>
      <pc:sldChg chg="del">
        <pc:chgData name="Virginie PONCET" userId="ebcd993a-a2ce-4546-82a8-b8fa2d7b77e1" providerId="ADAL" clId="{E5B7E8CE-123C-4CA0-9A8C-CD46EC48866B}" dt="2023-10-10T15:11:22.180" v="80" actId="47"/>
        <pc:sldMkLst>
          <pc:docMk/>
          <pc:sldMk cId="1995238942" sldId="3949"/>
        </pc:sldMkLst>
      </pc:sldChg>
      <pc:sldChg chg="del">
        <pc:chgData name="Virginie PONCET" userId="ebcd993a-a2ce-4546-82a8-b8fa2d7b77e1" providerId="ADAL" clId="{E5B7E8CE-123C-4CA0-9A8C-CD46EC48866B}" dt="2023-10-10T15:12:15.269" v="119" actId="47"/>
        <pc:sldMkLst>
          <pc:docMk/>
          <pc:sldMk cId="2678454503" sldId="3950"/>
        </pc:sldMkLst>
      </pc:sldChg>
      <pc:sldChg chg="add del">
        <pc:chgData name="Virginie PONCET" userId="ebcd993a-a2ce-4546-82a8-b8fa2d7b77e1" providerId="ADAL" clId="{E5B7E8CE-123C-4CA0-9A8C-CD46EC48866B}" dt="2023-10-10T15:13:35.725" v="132" actId="47"/>
        <pc:sldMkLst>
          <pc:docMk/>
          <pc:sldMk cId="2997668331" sldId="3952"/>
        </pc:sldMkLst>
      </pc:sldChg>
      <pc:sldChg chg="modSp">
        <pc:chgData name="Virginie PONCET" userId="ebcd993a-a2ce-4546-82a8-b8fa2d7b77e1" providerId="ADAL" clId="{E5B7E8CE-123C-4CA0-9A8C-CD46EC48866B}" dt="2023-10-20T07:04:55.744" v="695"/>
        <pc:sldMkLst>
          <pc:docMk/>
          <pc:sldMk cId="4045257331" sldId="3955"/>
        </pc:sldMkLst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4045257331" sldId="3955"/>
            <ac:spMk id="11" creationId="{24265DF6-B698-9C9D-F017-73ED7789B825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4045257331" sldId="3955"/>
            <ac:spMk id="12" creationId="{3B5A98CF-44D3-0251-1AA7-6B3743D2F487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4045257331" sldId="3955"/>
            <ac:spMk id="13" creationId="{734D0D3C-7CC1-300C-A178-B55473758B4D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4045257331" sldId="3955"/>
            <ac:spMk id="14" creationId="{66C867B7-CF39-6808-1F51-6ACB828C63EE}"/>
          </ac:spMkLst>
        </pc:spChg>
        <pc:picChg chg="mod">
          <ac:chgData name="Virginie PONCET" userId="ebcd993a-a2ce-4546-82a8-b8fa2d7b77e1" providerId="ADAL" clId="{E5B7E8CE-123C-4CA0-9A8C-CD46EC48866B}" dt="2023-10-20T07:04:55.744" v="695"/>
          <ac:picMkLst>
            <pc:docMk/>
            <pc:sldMk cId="4045257331" sldId="3955"/>
            <ac:picMk id="15" creationId="{9B51CB49-7B6C-C1A1-B8B9-8800B979B1E3}"/>
          </ac:picMkLst>
        </pc:picChg>
      </pc:sldChg>
      <pc:sldChg chg="modSp add mod">
        <pc:chgData name="Virginie PONCET" userId="ebcd993a-a2ce-4546-82a8-b8fa2d7b77e1" providerId="ADAL" clId="{E5B7E8CE-123C-4CA0-9A8C-CD46EC48866B}" dt="2023-10-20T07:04:55.744" v="695"/>
        <pc:sldMkLst>
          <pc:docMk/>
          <pc:sldMk cId="1323574478" sldId="3956"/>
        </pc:sldMkLst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1323574478" sldId="3956"/>
            <ac:spMk id="3" creationId="{00000000-0000-0000-0000-000000000000}"/>
          </ac:spMkLst>
        </pc:spChg>
      </pc:sldChg>
      <pc:sldChg chg="del">
        <pc:chgData name="Virginie PONCET" userId="ebcd993a-a2ce-4546-82a8-b8fa2d7b77e1" providerId="ADAL" clId="{E5B7E8CE-123C-4CA0-9A8C-CD46EC48866B}" dt="2023-10-10T15:11:23.102" v="81" actId="47"/>
        <pc:sldMkLst>
          <pc:docMk/>
          <pc:sldMk cId="2481201945" sldId="3956"/>
        </pc:sldMkLst>
      </pc:sldChg>
      <pc:sldChg chg="addSp delSp modSp add del mod">
        <pc:chgData name="Virginie PONCET" userId="ebcd993a-a2ce-4546-82a8-b8fa2d7b77e1" providerId="ADAL" clId="{E5B7E8CE-123C-4CA0-9A8C-CD46EC48866B}" dt="2023-10-20T07:02:30.300" v="694" actId="47"/>
        <pc:sldMkLst>
          <pc:docMk/>
          <pc:sldMk cId="3231407216" sldId="3957"/>
        </pc:sldMkLst>
        <pc:spChg chg="del">
          <ac:chgData name="Virginie PONCET" userId="ebcd993a-a2ce-4546-82a8-b8fa2d7b77e1" providerId="ADAL" clId="{E5B7E8CE-123C-4CA0-9A8C-CD46EC48866B}" dt="2023-10-10T15:46:39.390" v="587" actId="478"/>
          <ac:spMkLst>
            <pc:docMk/>
            <pc:sldMk cId="3231407216" sldId="3957"/>
            <ac:spMk id="2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10T15:46:39.390" v="587" actId="478"/>
          <ac:spMkLst>
            <pc:docMk/>
            <pc:sldMk cId="3231407216" sldId="3957"/>
            <ac:spMk id="3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10T15:46:39.390" v="587" actId="478"/>
          <ac:spMkLst>
            <pc:docMk/>
            <pc:sldMk cId="3231407216" sldId="3957"/>
            <ac:spMk id="4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10T15:46:39.390" v="587" actId="478"/>
          <ac:spMkLst>
            <pc:docMk/>
            <pc:sldMk cId="3231407216" sldId="3957"/>
            <ac:spMk id="5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10T15:46:39.390" v="587" actId="478"/>
          <ac:spMkLst>
            <pc:docMk/>
            <pc:sldMk cId="3231407216" sldId="3957"/>
            <ac:spMk id="6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10T15:46:45.274" v="588" actId="478"/>
          <ac:spMkLst>
            <pc:docMk/>
            <pc:sldMk cId="3231407216" sldId="3957"/>
            <ac:spMk id="7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10T15:46:39.390" v="587" actId="478"/>
          <ac:spMkLst>
            <pc:docMk/>
            <pc:sldMk cId="3231407216" sldId="3957"/>
            <ac:spMk id="8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10T15:46:39.390" v="587" actId="478"/>
          <ac:spMkLst>
            <pc:docMk/>
            <pc:sldMk cId="3231407216" sldId="3957"/>
            <ac:spMk id="9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10T15:46:39.390" v="587" actId="478"/>
          <ac:spMkLst>
            <pc:docMk/>
            <pc:sldMk cId="3231407216" sldId="3957"/>
            <ac:spMk id="10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10T15:46:39.390" v="587" actId="478"/>
          <ac:spMkLst>
            <pc:docMk/>
            <pc:sldMk cId="3231407216" sldId="3957"/>
            <ac:spMk id="11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10T15:46:39.390" v="587" actId="478"/>
          <ac:spMkLst>
            <pc:docMk/>
            <pc:sldMk cId="3231407216" sldId="3957"/>
            <ac:spMk id="12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10T15:46:39.390" v="587" actId="478"/>
          <ac:spMkLst>
            <pc:docMk/>
            <pc:sldMk cId="3231407216" sldId="3957"/>
            <ac:spMk id="13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10T15:46:39.390" v="587" actId="478"/>
          <ac:spMkLst>
            <pc:docMk/>
            <pc:sldMk cId="3231407216" sldId="3957"/>
            <ac:spMk id="14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10T15:46:39.390" v="587" actId="478"/>
          <ac:spMkLst>
            <pc:docMk/>
            <pc:sldMk cId="3231407216" sldId="3957"/>
            <ac:spMk id="19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10T15:46:39.390" v="587" actId="478"/>
          <ac:spMkLst>
            <pc:docMk/>
            <pc:sldMk cId="3231407216" sldId="3957"/>
            <ac:spMk id="20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10T15:46:39.390" v="587" actId="478"/>
          <ac:spMkLst>
            <pc:docMk/>
            <pc:sldMk cId="3231407216" sldId="3957"/>
            <ac:spMk id="21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10T15:46:39.390" v="587" actId="478"/>
          <ac:spMkLst>
            <pc:docMk/>
            <pc:sldMk cId="3231407216" sldId="3957"/>
            <ac:spMk id="22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10T15:46:39.390" v="587" actId="478"/>
          <ac:spMkLst>
            <pc:docMk/>
            <pc:sldMk cId="3231407216" sldId="3957"/>
            <ac:spMk id="23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10T15:46:39.390" v="587" actId="478"/>
          <ac:spMkLst>
            <pc:docMk/>
            <pc:sldMk cId="3231407216" sldId="3957"/>
            <ac:spMk id="24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10T15:46:39.390" v="587" actId="478"/>
          <ac:spMkLst>
            <pc:docMk/>
            <pc:sldMk cId="3231407216" sldId="3957"/>
            <ac:spMk id="25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10T15:46:39.390" v="587" actId="478"/>
          <ac:spMkLst>
            <pc:docMk/>
            <pc:sldMk cId="3231407216" sldId="3957"/>
            <ac:spMk id="31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10T15:46:39.390" v="587" actId="478"/>
          <ac:spMkLst>
            <pc:docMk/>
            <pc:sldMk cId="3231407216" sldId="3957"/>
            <ac:spMk id="32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10T15:46:39.390" v="587" actId="478"/>
          <ac:spMkLst>
            <pc:docMk/>
            <pc:sldMk cId="3231407216" sldId="3957"/>
            <ac:spMk id="34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10T15:46:39.390" v="587" actId="478"/>
          <ac:spMkLst>
            <pc:docMk/>
            <pc:sldMk cId="3231407216" sldId="3957"/>
            <ac:spMk id="35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10T15:46:39.390" v="587" actId="478"/>
          <ac:spMkLst>
            <pc:docMk/>
            <pc:sldMk cId="3231407216" sldId="3957"/>
            <ac:spMk id="36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10T15:46:39.390" v="587" actId="478"/>
          <ac:spMkLst>
            <pc:docMk/>
            <pc:sldMk cId="3231407216" sldId="3957"/>
            <ac:spMk id="37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10T15:46:39.390" v="587" actId="478"/>
          <ac:spMkLst>
            <pc:docMk/>
            <pc:sldMk cId="3231407216" sldId="3957"/>
            <ac:spMk id="38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10T15:46:39.390" v="587" actId="478"/>
          <ac:spMkLst>
            <pc:docMk/>
            <pc:sldMk cId="3231407216" sldId="3957"/>
            <ac:spMk id="39" creationId="{00000000-0000-0000-0000-000000000000}"/>
          </ac:spMkLst>
        </pc:spChg>
        <pc:spChg chg="add del mod">
          <ac:chgData name="Virginie PONCET" userId="ebcd993a-a2ce-4546-82a8-b8fa2d7b77e1" providerId="ADAL" clId="{E5B7E8CE-123C-4CA0-9A8C-CD46EC48866B}" dt="2023-10-10T15:46:47.986" v="589" actId="478"/>
          <ac:spMkLst>
            <pc:docMk/>
            <pc:sldMk cId="3231407216" sldId="3957"/>
            <ac:spMk id="41" creationId="{606873DF-4163-43EC-21B5-2FA343939C92}"/>
          </ac:spMkLst>
        </pc:spChg>
        <pc:grpChg chg="del">
          <ac:chgData name="Virginie PONCET" userId="ebcd993a-a2ce-4546-82a8-b8fa2d7b77e1" providerId="ADAL" clId="{E5B7E8CE-123C-4CA0-9A8C-CD46EC48866B}" dt="2023-10-10T15:46:39.390" v="587" actId="478"/>
          <ac:grpSpMkLst>
            <pc:docMk/>
            <pc:sldMk cId="3231407216" sldId="3957"/>
            <ac:grpSpMk id="16" creationId="{00000000-0000-0000-0000-000000000000}"/>
          </ac:grpSpMkLst>
        </pc:grpChg>
        <pc:grpChg chg="del">
          <ac:chgData name="Virginie PONCET" userId="ebcd993a-a2ce-4546-82a8-b8fa2d7b77e1" providerId="ADAL" clId="{E5B7E8CE-123C-4CA0-9A8C-CD46EC48866B}" dt="2023-10-10T15:46:39.390" v="587" actId="478"/>
          <ac:grpSpMkLst>
            <pc:docMk/>
            <pc:sldMk cId="3231407216" sldId="3957"/>
            <ac:grpSpMk id="28" creationId="{00000000-0000-0000-0000-000000000000}"/>
          </ac:grpSpMkLst>
        </pc:grpChg>
        <pc:picChg chg="del">
          <ac:chgData name="Virginie PONCET" userId="ebcd993a-a2ce-4546-82a8-b8fa2d7b77e1" providerId="ADAL" clId="{E5B7E8CE-123C-4CA0-9A8C-CD46EC48866B}" dt="2023-10-10T15:46:39.390" v="587" actId="478"/>
          <ac:picMkLst>
            <pc:docMk/>
            <pc:sldMk cId="3231407216" sldId="3957"/>
            <ac:picMk id="15" creationId="{00000000-0000-0000-0000-000000000000}"/>
          </ac:picMkLst>
        </pc:picChg>
        <pc:picChg chg="del">
          <ac:chgData name="Virginie PONCET" userId="ebcd993a-a2ce-4546-82a8-b8fa2d7b77e1" providerId="ADAL" clId="{E5B7E8CE-123C-4CA0-9A8C-CD46EC48866B}" dt="2023-10-10T15:46:39.390" v="587" actId="478"/>
          <ac:picMkLst>
            <pc:docMk/>
            <pc:sldMk cId="3231407216" sldId="3957"/>
            <ac:picMk id="26" creationId="{00000000-0000-0000-0000-000000000000}"/>
          </ac:picMkLst>
        </pc:picChg>
        <pc:picChg chg="del">
          <ac:chgData name="Virginie PONCET" userId="ebcd993a-a2ce-4546-82a8-b8fa2d7b77e1" providerId="ADAL" clId="{E5B7E8CE-123C-4CA0-9A8C-CD46EC48866B}" dt="2023-10-10T15:46:39.390" v="587" actId="478"/>
          <ac:picMkLst>
            <pc:docMk/>
            <pc:sldMk cId="3231407216" sldId="3957"/>
            <ac:picMk id="33" creationId="{00000000-0000-0000-0000-000000000000}"/>
          </ac:picMkLst>
        </pc:picChg>
      </pc:sldChg>
      <pc:sldChg chg="add del">
        <pc:chgData name="Virginie PONCET" userId="ebcd993a-a2ce-4546-82a8-b8fa2d7b77e1" providerId="ADAL" clId="{E5B7E8CE-123C-4CA0-9A8C-CD46EC48866B}" dt="2023-10-10T15:14:48.228" v="162"/>
        <pc:sldMkLst>
          <pc:docMk/>
          <pc:sldMk cId="4145301482" sldId="3957"/>
        </pc:sldMkLst>
      </pc:sldChg>
      <pc:sldChg chg="modSp modNotes">
        <pc:chgData name="Virginie PONCET" userId="ebcd993a-a2ce-4546-82a8-b8fa2d7b77e1" providerId="ADAL" clId="{E5B7E8CE-123C-4CA0-9A8C-CD46EC48866B}" dt="2023-10-20T07:04:55.744" v="695"/>
        <pc:sldMkLst>
          <pc:docMk/>
          <pc:sldMk cId="3035570813" sldId="2142533734"/>
        </pc:sldMkLst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035570813" sldId="2142533734"/>
            <ac:spMk id="123" creationId="{65CEBC85-A807-4425-810A-E70052E46184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035570813" sldId="2142533734"/>
            <ac:spMk id="136" creationId="{2A3DD4D6-AA3B-476F-8270-0B4745D28ED3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035570813" sldId="2142533734"/>
            <ac:spMk id="151" creationId="{B0579EB6-0220-4AE7-B0C4-2C456FCDC392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035570813" sldId="2142533734"/>
            <ac:spMk id="156" creationId="{F72D35BF-3EC9-4B2A-B786-4FE430EFA0B1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035570813" sldId="2142533734"/>
            <ac:spMk id="157" creationId="{75994F09-EA77-4635-850B-2D2A31405063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035570813" sldId="2142533734"/>
            <ac:spMk id="159" creationId="{6FE75E78-BE23-43F6-871F-1AD409C827B5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035570813" sldId="2142533734"/>
            <ac:spMk id="160" creationId="{367C3DB7-C76A-4B14-AE49-93A3F4262FAF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035570813" sldId="2142533734"/>
            <ac:spMk id="163" creationId="{CE6C140A-442F-47F4-B2C2-B2B5421E8F23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035570813" sldId="2142533734"/>
            <ac:spMk id="164" creationId="{29EEBD3A-7680-4198-882B-8A4197031DD2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035570813" sldId="2142533734"/>
            <ac:spMk id="165" creationId="{9F849C35-5FDB-4826-A0BD-12B715D4EAAD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035570813" sldId="2142533734"/>
            <ac:spMk id="166" creationId="{1F00EB69-5353-4E20-9083-F3932244DE3D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035570813" sldId="2142533734"/>
            <ac:spMk id="210" creationId="{8FB197F4-08D7-4B7B-AAF6-3ADE46335BC3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035570813" sldId="2142533734"/>
            <ac:spMk id="211" creationId="{018C00DB-19B4-49EE-A3B5-7E6B038D7346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035570813" sldId="2142533734"/>
            <ac:spMk id="212" creationId="{04F0DBC7-C3FA-4B3E-ADAE-CD39228F108D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035570813" sldId="2142533734"/>
            <ac:spMk id="213" creationId="{D3ED5AD1-B312-4921-A1B0-76AC5A444653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035570813" sldId="2142533734"/>
            <ac:spMk id="216" creationId="{E8CC3EC9-72DC-4D1C-8BE4-39DBE0AF50CD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035570813" sldId="2142533734"/>
            <ac:spMk id="217" creationId="{E4FE739E-F455-464F-A21E-5BEAACDB7B12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035570813" sldId="2142533734"/>
            <ac:spMk id="218" creationId="{3F3B2AAF-4B40-41CC-B522-DA52E85B9474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035570813" sldId="2142533734"/>
            <ac:spMk id="219" creationId="{8BC78DA2-42A6-4C91-BA97-84EE62F938B5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035570813" sldId="2142533734"/>
            <ac:spMk id="220" creationId="{882960D2-E33E-4D2C-AA4C-862BFF156FC5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035570813" sldId="2142533734"/>
            <ac:spMk id="221" creationId="{96932AC5-ECDD-4254-BB31-F7D61EE01C7B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035570813" sldId="2142533734"/>
            <ac:spMk id="222" creationId="{02F375F9-4847-4B1F-AEC9-987CD22703FD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035570813" sldId="2142533734"/>
            <ac:spMk id="239" creationId="{94696247-910E-4506-BD6A-691E2DA8605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035570813" sldId="2142533734"/>
            <ac:spMk id="240" creationId="{76DA04C9-D26D-42B4-93E6-50CFFEEBC772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035570813" sldId="2142533734"/>
            <ac:spMk id="260" creationId="{72CAD327-CD0C-41ED-A208-79256FEEB01D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035570813" sldId="2142533734"/>
            <ac:spMk id="261" creationId="{D6E8A088-CE70-42EE-A8D8-38E91F9CABF7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035570813" sldId="2142533734"/>
            <ac:spMk id="263" creationId="{42F077AC-345D-4585-9660-80B039D6452D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035570813" sldId="2142533734"/>
            <ac:spMk id="264" creationId="{A43A6411-8B3B-4A9C-BE61-B1AEA0FDA27F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3035570813" sldId="2142533734"/>
            <ac:spMk id="265" creationId="{D8702A2D-4D22-4F05-A5B2-C6254C468975}"/>
          </ac:spMkLst>
        </pc:spChg>
        <pc:grpChg chg="mod">
          <ac:chgData name="Virginie PONCET" userId="ebcd993a-a2ce-4546-82a8-b8fa2d7b77e1" providerId="ADAL" clId="{E5B7E8CE-123C-4CA0-9A8C-CD46EC48866B}" dt="2023-10-20T07:04:55.744" v="695"/>
          <ac:grpSpMkLst>
            <pc:docMk/>
            <pc:sldMk cId="3035570813" sldId="2142533734"/>
            <ac:grpSpMk id="10" creationId="{E5AA1624-5B42-4FB9-9A34-F0EBD527A4A5}"/>
          </ac:grpSpMkLst>
        </pc:grpChg>
        <pc:grpChg chg="mod">
          <ac:chgData name="Virginie PONCET" userId="ebcd993a-a2ce-4546-82a8-b8fa2d7b77e1" providerId="ADAL" clId="{E5B7E8CE-123C-4CA0-9A8C-CD46EC48866B}" dt="2023-10-20T07:04:55.744" v="695"/>
          <ac:grpSpMkLst>
            <pc:docMk/>
            <pc:sldMk cId="3035570813" sldId="2142533734"/>
            <ac:grpSpMk id="11" creationId="{3C35468A-22A0-4AA4-A222-E82204EEFF32}"/>
          </ac:grpSpMkLst>
        </pc:grpChg>
        <pc:grpChg chg="mod">
          <ac:chgData name="Virginie PONCET" userId="ebcd993a-a2ce-4546-82a8-b8fa2d7b77e1" providerId="ADAL" clId="{E5B7E8CE-123C-4CA0-9A8C-CD46EC48866B}" dt="2023-10-20T07:04:55.744" v="695"/>
          <ac:grpSpMkLst>
            <pc:docMk/>
            <pc:sldMk cId="3035570813" sldId="2142533734"/>
            <ac:grpSpMk id="155" creationId="{4C55E0F5-B7F8-4E43-B63D-98AAF53281BD}"/>
          </ac:grpSpMkLst>
        </pc:grpChg>
        <pc:grpChg chg="mod">
          <ac:chgData name="Virginie PONCET" userId="ebcd993a-a2ce-4546-82a8-b8fa2d7b77e1" providerId="ADAL" clId="{E5B7E8CE-123C-4CA0-9A8C-CD46EC48866B}" dt="2023-10-20T07:04:55.744" v="695"/>
          <ac:grpSpMkLst>
            <pc:docMk/>
            <pc:sldMk cId="3035570813" sldId="2142533734"/>
            <ac:grpSpMk id="158" creationId="{9F8D35B2-1DE1-4564-A67A-1AA51C1E49B5}"/>
          </ac:grpSpMkLst>
        </pc:grpChg>
        <pc:grpChg chg="mod">
          <ac:chgData name="Virginie PONCET" userId="ebcd993a-a2ce-4546-82a8-b8fa2d7b77e1" providerId="ADAL" clId="{E5B7E8CE-123C-4CA0-9A8C-CD46EC48866B}" dt="2023-10-20T07:04:55.744" v="695"/>
          <ac:grpSpMkLst>
            <pc:docMk/>
            <pc:sldMk cId="3035570813" sldId="2142533734"/>
            <ac:grpSpMk id="161" creationId="{24E37229-85AE-4155-9788-D5B743B37300}"/>
          </ac:grpSpMkLst>
        </pc:grpChg>
        <pc:grpChg chg="mod">
          <ac:chgData name="Virginie PONCET" userId="ebcd993a-a2ce-4546-82a8-b8fa2d7b77e1" providerId="ADAL" clId="{E5B7E8CE-123C-4CA0-9A8C-CD46EC48866B}" dt="2023-10-20T07:04:55.744" v="695"/>
          <ac:grpSpMkLst>
            <pc:docMk/>
            <pc:sldMk cId="3035570813" sldId="2142533734"/>
            <ac:grpSpMk id="162" creationId="{90BCDFF9-A638-4F69-B871-EA85C23C60EF}"/>
          </ac:grpSpMkLst>
        </pc:grpChg>
        <pc:grpChg chg="mod">
          <ac:chgData name="Virginie PONCET" userId="ebcd993a-a2ce-4546-82a8-b8fa2d7b77e1" providerId="ADAL" clId="{E5B7E8CE-123C-4CA0-9A8C-CD46EC48866B}" dt="2023-10-20T07:04:55.744" v="695"/>
          <ac:grpSpMkLst>
            <pc:docMk/>
            <pc:sldMk cId="3035570813" sldId="2142533734"/>
            <ac:grpSpMk id="215" creationId="{0E6B4264-B6F4-4F28-A644-041AD8775F5A}"/>
          </ac:grpSpMkLst>
        </pc:grpChg>
        <pc:graphicFrameChg chg="mod">
          <ac:chgData name="Virginie PONCET" userId="ebcd993a-a2ce-4546-82a8-b8fa2d7b77e1" providerId="ADAL" clId="{E5B7E8CE-123C-4CA0-9A8C-CD46EC48866B}" dt="2023-10-20T07:04:55.744" v="695"/>
          <ac:graphicFrameMkLst>
            <pc:docMk/>
            <pc:sldMk cId="3035570813" sldId="2142533734"/>
            <ac:graphicFrameMk id="225" creationId="{D2A5161C-B65F-4447-8700-F9342283E622}"/>
          </ac:graphicFrameMkLst>
        </pc:graphicFrameChg>
        <pc:picChg chg="mod">
          <ac:chgData name="Virginie PONCET" userId="ebcd993a-a2ce-4546-82a8-b8fa2d7b77e1" providerId="ADAL" clId="{E5B7E8CE-123C-4CA0-9A8C-CD46EC48866B}" dt="2023-10-20T07:04:55.744" v="695"/>
          <ac:picMkLst>
            <pc:docMk/>
            <pc:sldMk cId="3035570813" sldId="2142533734"/>
            <ac:picMk id="17" creationId="{827A45BA-6DF7-4083-AD93-66D353ABDA86}"/>
          </ac:picMkLst>
        </pc:picChg>
        <pc:picChg chg="mod">
          <ac:chgData name="Virginie PONCET" userId="ebcd993a-a2ce-4546-82a8-b8fa2d7b77e1" providerId="ADAL" clId="{E5B7E8CE-123C-4CA0-9A8C-CD46EC48866B}" dt="2023-10-20T07:04:55.744" v="695"/>
          <ac:picMkLst>
            <pc:docMk/>
            <pc:sldMk cId="3035570813" sldId="2142533734"/>
            <ac:picMk id="253" creationId="{D4D8CDA7-5212-402A-BB19-13C354866554}"/>
          </ac:picMkLst>
        </pc:picChg>
        <pc:cxnChg chg="mod">
          <ac:chgData name="Virginie PONCET" userId="ebcd993a-a2ce-4546-82a8-b8fa2d7b77e1" providerId="ADAL" clId="{E5B7E8CE-123C-4CA0-9A8C-CD46EC48866B}" dt="2023-10-20T07:04:55.744" v="695"/>
          <ac:cxnSpMkLst>
            <pc:docMk/>
            <pc:sldMk cId="3035570813" sldId="2142533734"/>
            <ac:cxnSpMk id="118" creationId="{ADECB38D-7F41-4080-9946-7A9956CF1E9E}"/>
          </ac:cxnSpMkLst>
        </pc:cxnChg>
        <pc:cxnChg chg="mod">
          <ac:chgData name="Virginie PONCET" userId="ebcd993a-a2ce-4546-82a8-b8fa2d7b77e1" providerId="ADAL" clId="{E5B7E8CE-123C-4CA0-9A8C-CD46EC48866B}" dt="2023-10-20T07:04:55.744" v="695"/>
          <ac:cxnSpMkLst>
            <pc:docMk/>
            <pc:sldMk cId="3035570813" sldId="2142533734"/>
            <ac:cxnSpMk id="121" creationId="{84550345-7431-49E6-9918-A4686DE820CF}"/>
          </ac:cxnSpMkLst>
        </pc:cxnChg>
        <pc:cxnChg chg="mod">
          <ac:chgData name="Virginie PONCET" userId="ebcd993a-a2ce-4546-82a8-b8fa2d7b77e1" providerId="ADAL" clId="{E5B7E8CE-123C-4CA0-9A8C-CD46EC48866B}" dt="2023-10-20T07:04:55.744" v="695"/>
          <ac:cxnSpMkLst>
            <pc:docMk/>
            <pc:sldMk cId="3035570813" sldId="2142533734"/>
            <ac:cxnSpMk id="223" creationId="{67B41DF1-FE5B-40E1-ADFC-E4F51B8C4407}"/>
          </ac:cxnSpMkLst>
        </pc:cxnChg>
      </pc:sldChg>
      <pc:sldChg chg="modSp modNotes">
        <pc:chgData name="Virginie PONCET" userId="ebcd993a-a2ce-4546-82a8-b8fa2d7b77e1" providerId="ADAL" clId="{E5B7E8CE-123C-4CA0-9A8C-CD46EC48866B}" dt="2023-10-20T07:04:55.744" v="695"/>
        <pc:sldMkLst>
          <pc:docMk/>
          <pc:sldMk cId="950674748" sldId="2142533963"/>
        </pc:sldMkLst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950674748" sldId="2142533963"/>
            <ac:spMk id="2" creationId="{DCAEFAB6-BFE4-524E-1947-EE7396EA265E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950674748" sldId="2142533963"/>
            <ac:spMk id="6" creationId="{FBFEF761-DD37-4F4E-8EF6-A8B75278D83B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950674748" sldId="2142533963"/>
            <ac:spMk id="8" creationId="{59957356-F98A-42A4-1C99-C8A3BA87E8BC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950674748" sldId="2142533963"/>
            <ac:spMk id="10" creationId="{E2FDAD37-3793-BECC-FE00-4D3334B505BB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950674748" sldId="2142533963"/>
            <ac:spMk id="11" creationId="{60728A60-6A56-DF75-DE7D-B97659C4A4FD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950674748" sldId="2142533963"/>
            <ac:spMk id="32" creationId="{9700010F-27D0-4F62-B61D-21D4FDB5631E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950674748" sldId="2142533963"/>
            <ac:spMk id="33" creationId="{FBFE18C4-160F-433B-B884-000B4D654636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950674748" sldId="2142533963"/>
            <ac:spMk id="34" creationId="{C8BFB0D0-CD7E-4AE8-A6AD-F79543D1E2D8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950674748" sldId="2142533963"/>
            <ac:spMk id="35" creationId="{6F3F7949-335E-4E10-BE3E-7FDEBE7C61E7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950674748" sldId="2142533963"/>
            <ac:spMk id="36" creationId="{D7BCCB9F-0053-4D17-82BC-48D11048539F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950674748" sldId="2142533963"/>
            <ac:spMk id="37" creationId="{280DDAF7-D692-495C-A576-88771BBF9D94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950674748" sldId="2142533963"/>
            <ac:spMk id="38" creationId="{4943247C-63BE-462F-B96E-7A47FA3F7FB9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950674748" sldId="2142533963"/>
            <ac:spMk id="43" creationId="{6D3E6E26-67CB-4B09-B3DD-0C4D9F007C83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950674748" sldId="2142533963"/>
            <ac:spMk id="48" creationId="{88551355-BAEA-44C5-A5FC-34E722E41406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k cId="950674748" sldId="2142533963"/>
            <ac:spMk id="99" creationId="{1723B597-7E2C-455A-8A25-A7F2457F9159}"/>
          </ac:spMkLst>
        </pc:spChg>
        <pc:graphicFrameChg chg="mod">
          <ac:chgData name="Virginie PONCET" userId="ebcd993a-a2ce-4546-82a8-b8fa2d7b77e1" providerId="ADAL" clId="{E5B7E8CE-123C-4CA0-9A8C-CD46EC48866B}" dt="2023-10-20T07:04:55.744" v="695"/>
          <ac:graphicFrameMkLst>
            <pc:docMk/>
            <pc:sldMk cId="950674748" sldId="2142533963"/>
            <ac:graphicFrameMk id="7" creationId="{4785B32B-23F7-49FB-8ABD-AF2067475E76}"/>
          </ac:graphicFrameMkLst>
        </pc:graphicFrameChg>
        <pc:picChg chg="mod">
          <ac:chgData name="Virginie PONCET" userId="ebcd993a-a2ce-4546-82a8-b8fa2d7b77e1" providerId="ADAL" clId="{E5B7E8CE-123C-4CA0-9A8C-CD46EC48866B}" dt="2023-10-20T07:04:55.744" v="695"/>
          <ac:picMkLst>
            <pc:docMk/>
            <pc:sldMk cId="950674748" sldId="2142533963"/>
            <ac:picMk id="9" creationId="{07E6E8CE-8368-0A41-D102-2E13F0900AA9}"/>
          </ac:picMkLst>
        </pc:picChg>
      </pc:sldChg>
      <pc:sldChg chg="addSp delSp modSp add del mod">
        <pc:chgData name="Virginie PONCET" userId="ebcd993a-a2ce-4546-82a8-b8fa2d7b77e1" providerId="ADAL" clId="{E5B7E8CE-123C-4CA0-9A8C-CD46EC48866B}" dt="2023-10-20T07:38:25.810" v="1968" actId="47"/>
        <pc:sldMkLst>
          <pc:docMk/>
          <pc:sldMk cId="1548483010" sldId="2142533964"/>
        </pc:sldMkLst>
        <pc:spChg chg="mod">
          <ac:chgData name="Virginie PONCET" userId="ebcd993a-a2ce-4546-82a8-b8fa2d7b77e1" providerId="ADAL" clId="{E5B7E8CE-123C-4CA0-9A8C-CD46EC48866B}" dt="2023-10-20T07:20:05.563" v="1239" actId="404"/>
          <ac:spMkLst>
            <pc:docMk/>
            <pc:sldMk cId="1548483010" sldId="2142533964"/>
            <ac:spMk id="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20:29.990" v="1279" actId="1036"/>
          <ac:spMkLst>
            <pc:docMk/>
            <pc:sldMk cId="1548483010" sldId="2142533964"/>
            <ac:spMk id="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20:33.806" v="1290" actId="1036"/>
          <ac:spMkLst>
            <pc:docMk/>
            <pc:sldMk cId="1548483010" sldId="2142533964"/>
            <ac:spMk id="4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20T07:17:51.859" v="1137" actId="478"/>
          <ac:spMkLst>
            <pc:docMk/>
            <pc:sldMk cId="1548483010" sldId="2142533964"/>
            <ac:spMk id="9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20T07:32:05.697" v="1715" actId="478"/>
          <ac:spMkLst>
            <pc:docMk/>
            <pc:sldMk cId="1548483010" sldId="2142533964"/>
            <ac:spMk id="22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20T07:32:05.697" v="1715" actId="478"/>
          <ac:spMkLst>
            <pc:docMk/>
            <pc:sldMk cId="1548483010" sldId="2142533964"/>
            <ac:spMk id="23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20T07:32:05.697" v="1715" actId="478"/>
          <ac:spMkLst>
            <pc:docMk/>
            <pc:sldMk cId="1548483010" sldId="2142533964"/>
            <ac:spMk id="24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20T07:32:05.697" v="1715" actId="478"/>
          <ac:spMkLst>
            <pc:docMk/>
            <pc:sldMk cId="1548483010" sldId="2142533964"/>
            <ac:spMk id="25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20T07:32:05.697" v="1715" actId="478"/>
          <ac:spMkLst>
            <pc:docMk/>
            <pc:sldMk cId="1548483010" sldId="2142533964"/>
            <ac:spMk id="26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20T07:32:05.697" v="1715" actId="478"/>
          <ac:spMkLst>
            <pc:docMk/>
            <pc:sldMk cId="1548483010" sldId="2142533964"/>
            <ac:spMk id="27" creationId="{00000000-0000-0000-0000-000000000000}"/>
          </ac:spMkLst>
        </pc:spChg>
        <pc:spChg chg="del mod">
          <ac:chgData name="Virginie PONCET" userId="ebcd993a-a2ce-4546-82a8-b8fa2d7b77e1" providerId="ADAL" clId="{E5B7E8CE-123C-4CA0-9A8C-CD46EC48866B}" dt="2023-10-20T07:23:17.796" v="1521" actId="478"/>
          <ac:spMkLst>
            <pc:docMk/>
            <pc:sldMk cId="1548483010" sldId="2142533964"/>
            <ac:spMk id="28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23:12.092" v="1520" actId="14100"/>
          <ac:spMkLst>
            <pc:docMk/>
            <pc:sldMk cId="1548483010" sldId="2142533964"/>
            <ac:spMk id="29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20T07:17:51.859" v="1137" actId="478"/>
          <ac:spMkLst>
            <pc:docMk/>
            <pc:sldMk cId="1548483010" sldId="2142533964"/>
            <ac:spMk id="34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20T07:17:51.859" v="1137" actId="478"/>
          <ac:spMkLst>
            <pc:docMk/>
            <pc:sldMk cId="1548483010" sldId="2142533964"/>
            <ac:spMk id="35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31:13.300" v="1697" actId="1076"/>
          <ac:spMkLst>
            <pc:docMk/>
            <pc:sldMk cId="1548483010" sldId="2142533964"/>
            <ac:spMk id="36" creationId="{00000000-0000-0000-0000-000000000000}"/>
          </ac:spMkLst>
        </pc:spChg>
        <pc:spChg chg="del mod">
          <ac:chgData name="Virginie PONCET" userId="ebcd993a-a2ce-4546-82a8-b8fa2d7b77e1" providerId="ADAL" clId="{E5B7E8CE-123C-4CA0-9A8C-CD46EC48866B}" dt="2023-10-20T07:24:27.284" v="1534" actId="478"/>
          <ac:spMkLst>
            <pc:docMk/>
            <pc:sldMk cId="1548483010" sldId="2142533964"/>
            <ac:spMk id="37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28:27.843" v="1641" actId="14100"/>
          <ac:spMkLst>
            <pc:docMk/>
            <pc:sldMk cId="1548483010" sldId="2142533964"/>
            <ac:spMk id="38" creationId="{00000000-0000-0000-0000-000000000000}"/>
          </ac:spMkLst>
        </pc:spChg>
        <pc:spChg chg="del mod">
          <ac:chgData name="Virginie PONCET" userId="ebcd993a-a2ce-4546-82a8-b8fa2d7b77e1" providerId="ADAL" clId="{E5B7E8CE-123C-4CA0-9A8C-CD46EC48866B}" dt="2023-10-20T07:25:53.058" v="1625" actId="478"/>
          <ac:spMkLst>
            <pc:docMk/>
            <pc:sldMk cId="1548483010" sldId="2142533964"/>
            <ac:spMk id="39" creationId="{00000000-0000-0000-0000-000000000000}"/>
          </ac:spMkLst>
        </pc:spChg>
        <pc:spChg chg="del mod">
          <ac:chgData name="Virginie PONCET" userId="ebcd993a-a2ce-4546-82a8-b8fa2d7b77e1" providerId="ADAL" clId="{E5B7E8CE-123C-4CA0-9A8C-CD46EC48866B}" dt="2023-10-20T07:24:57.703" v="1566"/>
          <ac:spMkLst>
            <pc:docMk/>
            <pc:sldMk cId="1548483010" sldId="2142533964"/>
            <ac:spMk id="40" creationId="{00000000-0000-0000-0000-000000000000}"/>
          </ac:spMkLst>
        </pc:spChg>
        <pc:spChg chg="del mod">
          <ac:chgData name="Virginie PONCET" userId="ebcd993a-a2ce-4546-82a8-b8fa2d7b77e1" providerId="ADAL" clId="{E5B7E8CE-123C-4CA0-9A8C-CD46EC48866B}" dt="2023-10-20T07:30:16.088" v="1678" actId="478"/>
          <ac:spMkLst>
            <pc:docMk/>
            <pc:sldMk cId="1548483010" sldId="2142533964"/>
            <ac:spMk id="51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31:34.076" v="1713" actId="1037"/>
          <ac:spMkLst>
            <pc:docMk/>
            <pc:sldMk cId="1548483010" sldId="2142533964"/>
            <ac:spMk id="52" creationId="{00000000-0000-0000-0000-000000000000}"/>
          </ac:spMkLst>
        </pc:spChg>
        <pc:spChg chg="del mod">
          <ac:chgData name="Virginie PONCET" userId="ebcd993a-a2ce-4546-82a8-b8fa2d7b77e1" providerId="ADAL" clId="{E5B7E8CE-123C-4CA0-9A8C-CD46EC48866B}" dt="2023-10-20T07:29:51.412" v="1667" actId="478"/>
          <ac:spMkLst>
            <pc:docMk/>
            <pc:sldMk cId="1548483010" sldId="2142533964"/>
            <ac:spMk id="5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31:34.076" v="1713" actId="1037"/>
          <ac:spMkLst>
            <pc:docMk/>
            <pc:sldMk cId="1548483010" sldId="2142533964"/>
            <ac:spMk id="54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20T07:17:51.859" v="1137" actId="478"/>
          <ac:spMkLst>
            <pc:docMk/>
            <pc:sldMk cId="1548483010" sldId="2142533964"/>
            <ac:spMk id="58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20T07:17:51.859" v="1137" actId="478"/>
          <ac:spMkLst>
            <pc:docMk/>
            <pc:sldMk cId="1548483010" sldId="2142533964"/>
            <ac:spMk id="59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20T07:17:51.859" v="1137" actId="478"/>
          <ac:spMkLst>
            <pc:docMk/>
            <pc:sldMk cId="1548483010" sldId="2142533964"/>
            <ac:spMk id="60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20T07:17:51.859" v="1137" actId="478"/>
          <ac:spMkLst>
            <pc:docMk/>
            <pc:sldMk cId="1548483010" sldId="2142533964"/>
            <ac:spMk id="61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20T07:17:51.859" v="1137" actId="478"/>
          <ac:spMkLst>
            <pc:docMk/>
            <pc:sldMk cId="1548483010" sldId="2142533964"/>
            <ac:spMk id="62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20T07:17:51.859" v="1137" actId="478"/>
          <ac:spMkLst>
            <pc:docMk/>
            <pc:sldMk cId="1548483010" sldId="2142533964"/>
            <ac:spMk id="63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20T07:20:49.577" v="1292" actId="478"/>
          <ac:spMkLst>
            <pc:docMk/>
            <pc:sldMk cId="1548483010" sldId="2142533964"/>
            <ac:spMk id="64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20T07:20:49.577" v="1292" actId="478"/>
          <ac:spMkLst>
            <pc:docMk/>
            <pc:sldMk cId="1548483010" sldId="2142533964"/>
            <ac:spMk id="65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20T07:20:49.577" v="1292" actId="478"/>
          <ac:spMkLst>
            <pc:docMk/>
            <pc:sldMk cId="1548483010" sldId="2142533964"/>
            <ac:spMk id="66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20T07:20:49.577" v="1292" actId="478"/>
          <ac:spMkLst>
            <pc:docMk/>
            <pc:sldMk cId="1548483010" sldId="2142533964"/>
            <ac:spMk id="67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20T07:20:49.577" v="1292" actId="478"/>
          <ac:spMkLst>
            <pc:docMk/>
            <pc:sldMk cId="1548483010" sldId="2142533964"/>
            <ac:spMk id="68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31:22.194" v="1699" actId="1076"/>
          <ac:spMkLst>
            <pc:docMk/>
            <pc:sldMk cId="1548483010" sldId="2142533964"/>
            <ac:spMk id="69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20T07:17:51.859" v="1137" actId="478"/>
          <ac:spMkLst>
            <pc:docMk/>
            <pc:sldMk cId="1548483010" sldId="2142533964"/>
            <ac:spMk id="70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20T07:17:51.859" v="1137" actId="478"/>
          <ac:spMkLst>
            <pc:docMk/>
            <pc:sldMk cId="1548483010" sldId="2142533964"/>
            <ac:spMk id="74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20T07:21:18.185" v="1381" actId="478"/>
          <ac:spMkLst>
            <pc:docMk/>
            <pc:sldMk cId="1548483010" sldId="2142533964"/>
            <ac:spMk id="76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20T07:21:22.732" v="1382" actId="478"/>
          <ac:spMkLst>
            <pc:docMk/>
            <pc:sldMk cId="1548483010" sldId="2142533964"/>
            <ac:spMk id="77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21:38.194" v="1386" actId="403"/>
          <ac:spMkLst>
            <pc:docMk/>
            <pc:sldMk cId="1548483010" sldId="2142533964"/>
            <ac:spMk id="78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21:38.194" v="1386" actId="403"/>
          <ac:spMkLst>
            <pc:docMk/>
            <pc:sldMk cId="1548483010" sldId="2142533964"/>
            <ac:spMk id="79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22:06.661" v="1494" actId="1037"/>
          <ac:spMkLst>
            <pc:docMk/>
            <pc:sldMk cId="1548483010" sldId="2142533964"/>
            <ac:spMk id="80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20T07:17:51.859" v="1137" actId="478"/>
          <ac:spMkLst>
            <pc:docMk/>
            <pc:sldMk cId="1548483010" sldId="2142533964"/>
            <ac:spMk id="81" creationId="{00000000-0000-0000-0000-000000000000}"/>
          </ac:spMkLst>
        </pc:spChg>
        <pc:spChg chg="del mod">
          <ac:chgData name="Virginie PONCET" userId="ebcd993a-a2ce-4546-82a8-b8fa2d7b77e1" providerId="ADAL" clId="{E5B7E8CE-123C-4CA0-9A8C-CD46EC48866B}" dt="2023-10-20T07:17:51.859" v="1137" actId="478"/>
          <ac:spMkLst>
            <pc:docMk/>
            <pc:sldMk cId="1548483010" sldId="2142533964"/>
            <ac:spMk id="82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20T07:17:51.859" v="1137" actId="478"/>
          <ac:spMkLst>
            <pc:docMk/>
            <pc:sldMk cId="1548483010" sldId="2142533964"/>
            <ac:spMk id="8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16:20.588" v="1044" actId="1076"/>
          <ac:spMkLst>
            <pc:docMk/>
            <pc:sldMk cId="1548483010" sldId="2142533964"/>
            <ac:spMk id="85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18:07.916" v="1140" actId="1076"/>
          <ac:spMkLst>
            <pc:docMk/>
            <pc:sldMk cId="1548483010" sldId="2142533964"/>
            <ac:spMk id="87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18:12.912" v="1141" actId="1076"/>
          <ac:spMkLst>
            <pc:docMk/>
            <pc:sldMk cId="1548483010" sldId="2142533964"/>
            <ac:spMk id="88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20:05.563" v="1239" actId="404"/>
          <ac:spMkLst>
            <pc:docMk/>
            <pc:sldMk cId="1548483010" sldId="2142533964"/>
            <ac:spMk id="89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31:38.856" v="1714" actId="14100"/>
          <ac:spMkLst>
            <pc:docMk/>
            <pc:sldMk cId="1548483010" sldId="2142533964"/>
            <ac:spMk id="90" creationId="{00000000-0000-0000-0000-000000000000}"/>
          </ac:spMkLst>
        </pc:spChg>
        <pc:spChg chg="del">
          <ac:chgData name="Virginie PONCET" userId="ebcd993a-a2ce-4546-82a8-b8fa2d7b77e1" providerId="ADAL" clId="{E5B7E8CE-123C-4CA0-9A8C-CD46EC48866B}" dt="2023-10-20T07:32:11.807" v="1716" actId="478"/>
          <ac:spMkLst>
            <pc:docMk/>
            <pc:sldMk cId="1548483010" sldId="2142533964"/>
            <ac:spMk id="91" creationId="{00000000-0000-0000-0000-000000000000}"/>
          </ac:spMkLst>
        </pc:spChg>
        <pc:spChg chg="add mod">
          <ac:chgData name="Virginie PONCET" userId="ebcd993a-a2ce-4546-82a8-b8fa2d7b77e1" providerId="ADAL" clId="{E5B7E8CE-123C-4CA0-9A8C-CD46EC48866B}" dt="2023-10-20T07:20:14.731" v="1241" actId="14100"/>
          <ac:spMkLst>
            <pc:docMk/>
            <pc:sldMk cId="1548483010" sldId="2142533964"/>
            <ac:spMk id="92" creationId="{4701CB17-2A02-FF7F-9EFE-9853525BC86C}"/>
          </ac:spMkLst>
        </pc:spChg>
        <pc:spChg chg="add mod">
          <ac:chgData name="Virginie PONCET" userId="ebcd993a-a2ce-4546-82a8-b8fa2d7b77e1" providerId="ADAL" clId="{E5B7E8CE-123C-4CA0-9A8C-CD46EC48866B}" dt="2023-10-20T07:20:10.279" v="1240" actId="14100"/>
          <ac:spMkLst>
            <pc:docMk/>
            <pc:sldMk cId="1548483010" sldId="2142533964"/>
            <ac:spMk id="93" creationId="{4131F1CD-4179-5CE7-09AF-75636AA46B11}"/>
          </ac:spMkLst>
        </pc:spChg>
        <pc:spChg chg="add del mod">
          <ac:chgData name="Virginie PONCET" userId="ebcd993a-a2ce-4546-82a8-b8fa2d7b77e1" providerId="ADAL" clId="{E5B7E8CE-123C-4CA0-9A8C-CD46EC48866B}" dt="2023-10-20T07:27:29.175" v="1633" actId="478"/>
          <ac:spMkLst>
            <pc:docMk/>
            <pc:sldMk cId="1548483010" sldId="2142533964"/>
            <ac:spMk id="94" creationId="{DAA1DE3D-348D-BE01-F782-3197083D9AAA}"/>
          </ac:spMkLst>
        </pc:spChg>
        <pc:spChg chg="add mod">
          <ac:chgData name="Virginie PONCET" userId="ebcd993a-a2ce-4546-82a8-b8fa2d7b77e1" providerId="ADAL" clId="{E5B7E8CE-123C-4CA0-9A8C-CD46EC48866B}" dt="2023-10-20T07:28:34.716" v="1642" actId="14100"/>
          <ac:spMkLst>
            <pc:docMk/>
            <pc:sldMk cId="1548483010" sldId="2142533964"/>
            <ac:spMk id="97" creationId="{0D36DB66-7A1C-9F8B-432C-B26DF96FBE76}"/>
          </ac:spMkLst>
        </pc:spChg>
        <pc:grpChg chg="del">
          <ac:chgData name="Virginie PONCET" userId="ebcd993a-a2ce-4546-82a8-b8fa2d7b77e1" providerId="ADAL" clId="{E5B7E8CE-123C-4CA0-9A8C-CD46EC48866B}" dt="2023-10-20T07:17:51.859" v="1137" actId="478"/>
          <ac:grpSpMkLst>
            <pc:docMk/>
            <pc:sldMk cId="1548483010" sldId="2142533964"/>
            <ac:grpSpMk id="5" creationId="{00000000-0000-0000-0000-000000000000}"/>
          </ac:grpSpMkLst>
        </pc:grpChg>
        <pc:grpChg chg="del">
          <ac:chgData name="Virginie PONCET" userId="ebcd993a-a2ce-4546-82a8-b8fa2d7b77e1" providerId="ADAL" clId="{E5B7E8CE-123C-4CA0-9A8C-CD46EC48866B}" dt="2023-10-20T07:17:51.859" v="1137" actId="478"/>
          <ac:grpSpMkLst>
            <pc:docMk/>
            <pc:sldMk cId="1548483010" sldId="2142533964"/>
            <ac:grpSpMk id="10" creationId="{00000000-0000-0000-0000-000000000000}"/>
          </ac:grpSpMkLst>
        </pc:grpChg>
        <pc:grpChg chg="del">
          <ac:chgData name="Virginie PONCET" userId="ebcd993a-a2ce-4546-82a8-b8fa2d7b77e1" providerId="ADAL" clId="{E5B7E8CE-123C-4CA0-9A8C-CD46EC48866B}" dt="2023-10-20T07:20:39.052" v="1291" actId="478"/>
          <ac:grpSpMkLst>
            <pc:docMk/>
            <pc:sldMk cId="1548483010" sldId="2142533964"/>
            <ac:grpSpMk id="19" creationId="{00000000-0000-0000-0000-000000000000}"/>
          </ac:grpSpMkLst>
        </pc:grpChg>
        <pc:grpChg chg="del">
          <ac:chgData name="Virginie PONCET" userId="ebcd993a-a2ce-4546-82a8-b8fa2d7b77e1" providerId="ADAL" clId="{E5B7E8CE-123C-4CA0-9A8C-CD46EC48866B}" dt="2023-10-20T07:19:21.522" v="1154" actId="478"/>
          <ac:grpSpMkLst>
            <pc:docMk/>
            <pc:sldMk cId="1548483010" sldId="2142533964"/>
            <ac:grpSpMk id="30" creationId="{00000000-0000-0000-0000-000000000000}"/>
          </ac:grpSpMkLst>
        </pc:grpChg>
        <pc:grpChg chg="del">
          <ac:chgData name="Virginie PONCET" userId="ebcd993a-a2ce-4546-82a8-b8fa2d7b77e1" providerId="ADAL" clId="{E5B7E8CE-123C-4CA0-9A8C-CD46EC48866B}" dt="2023-10-20T07:19:09.456" v="1151" actId="478"/>
          <ac:grpSpMkLst>
            <pc:docMk/>
            <pc:sldMk cId="1548483010" sldId="2142533964"/>
            <ac:grpSpMk id="41" creationId="{00000000-0000-0000-0000-000000000000}"/>
          </ac:grpSpMkLst>
        </pc:grpChg>
        <pc:grpChg chg="del mod">
          <ac:chgData name="Virginie PONCET" userId="ebcd993a-a2ce-4546-82a8-b8fa2d7b77e1" providerId="ADAL" clId="{E5B7E8CE-123C-4CA0-9A8C-CD46EC48866B}" dt="2023-10-20T07:19:16.934" v="1153" actId="478"/>
          <ac:grpSpMkLst>
            <pc:docMk/>
            <pc:sldMk cId="1548483010" sldId="2142533964"/>
            <ac:grpSpMk id="55" creationId="{00000000-0000-0000-0000-000000000000}"/>
          </ac:grpSpMkLst>
        </pc:grpChg>
        <pc:grpChg chg="del">
          <ac:chgData name="Virginie PONCET" userId="ebcd993a-a2ce-4546-82a8-b8fa2d7b77e1" providerId="ADAL" clId="{E5B7E8CE-123C-4CA0-9A8C-CD46EC48866B}" dt="2023-10-20T07:17:51.859" v="1137" actId="478"/>
          <ac:grpSpMkLst>
            <pc:docMk/>
            <pc:sldMk cId="1548483010" sldId="2142533964"/>
            <ac:grpSpMk id="71" creationId="{00000000-0000-0000-0000-000000000000}"/>
          </ac:grpSpMkLst>
        </pc:grpChg>
        <pc:grpChg chg="mod">
          <ac:chgData name="Virginie PONCET" userId="ebcd993a-a2ce-4546-82a8-b8fa2d7b77e1" providerId="ADAL" clId="{E5B7E8CE-123C-4CA0-9A8C-CD46EC48866B}" dt="2023-10-20T07:22:16.420" v="1500" actId="1038"/>
          <ac:grpSpMkLst>
            <pc:docMk/>
            <pc:sldMk cId="1548483010" sldId="2142533964"/>
            <ac:grpSpMk id="75" creationId="{00000000-0000-0000-0000-000000000000}"/>
          </ac:grpSpMkLst>
        </pc:grpChg>
        <pc:grpChg chg="add del">
          <ac:chgData name="Virginie PONCET" userId="ebcd993a-a2ce-4546-82a8-b8fa2d7b77e1" providerId="ADAL" clId="{E5B7E8CE-123C-4CA0-9A8C-CD46EC48866B}" dt="2023-10-20T07:18:44.185" v="1146" actId="478"/>
          <ac:grpSpMkLst>
            <pc:docMk/>
            <pc:sldMk cId="1548483010" sldId="2142533964"/>
            <ac:grpSpMk id="84" creationId="{00000000-0000-0000-0000-000000000000}"/>
          </ac:grpSpMkLst>
        </pc:grpChg>
        <pc:picChg chg="add mod">
          <ac:chgData name="Virginie PONCET" userId="ebcd993a-a2ce-4546-82a8-b8fa2d7b77e1" providerId="ADAL" clId="{E5B7E8CE-123C-4CA0-9A8C-CD46EC48866B}" dt="2023-10-20T07:28:45.737" v="1647" actId="1035"/>
          <ac:picMkLst>
            <pc:docMk/>
            <pc:sldMk cId="1548483010" sldId="2142533964"/>
            <ac:picMk id="96" creationId="{5F0EDC42-EE07-7142-BD15-02D3B3766A4F}"/>
          </ac:picMkLst>
        </pc:picChg>
      </pc:sldChg>
      <pc:sldChg chg="addSp modSp new mod">
        <pc:chgData name="Virginie PONCET" userId="ebcd993a-a2ce-4546-82a8-b8fa2d7b77e1" providerId="ADAL" clId="{E5B7E8CE-123C-4CA0-9A8C-CD46EC48866B}" dt="2023-10-20T07:34:36.097" v="1765" actId="404"/>
        <pc:sldMkLst>
          <pc:docMk/>
          <pc:sldMk cId="3811174594" sldId="2142533965"/>
        </pc:sldMkLst>
        <pc:spChg chg="mod">
          <ac:chgData name="Virginie PONCET" userId="ebcd993a-a2ce-4546-82a8-b8fa2d7b77e1" providerId="ADAL" clId="{E5B7E8CE-123C-4CA0-9A8C-CD46EC48866B}" dt="2023-10-20T07:33:36.036" v="1718"/>
          <ac:spMkLst>
            <pc:docMk/>
            <pc:sldMk cId="3811174594" sldId="2142533965"/>
            <ac:spMk id="4" creationId="{A3B0F35A-C04D-783B-D51D-53FC23610734}"/>
          </ac:spMkLst>
        </pc:spChg>
        <pc:spChg chg="mod">
          <ac:chgData name="Virginie PONCET" userId="ebcd993a-a2ce-4546-82a8-b8fa2d7b77e1" providerId="ADAL" clId="{E5B7E8CE-123C-4CA0-9A8C-CD46EC48866B}" dt="2023-10-20T07:33:36.036" v="1718"/>
          <ac:spMkLst>
            <pc:docMk/>
            <pc:sldMk cId="3811174594" sldId="2142533965"/>
            <ac:spMk id="5" creationId="{A5B82C14-4B1C-5AB6-EF61-F5CBC0B07598}"/>
          </ac:spMkLst>
        </pc:spChg>
        <pc:spChg chg="mod">
          <ac:chgData name="Virginie PONCET" userId="ebcd993a-a2ce-4546-82a8-b8fa2d7b77e1" providerId="ADAL" clId="{E5B7E8CE-123C-4CA0-9A8C-CD46EC48866B}" dt="2023-10-20T07:33:36.036" v="1718"/>
          <ac:spMkLst>
            <pc:docMk/>
            <pc:sldMk cId="3811174594" sldId="2142533965"/>
            <ac:spMk id="6" creationId="{9D0CB5DB-6B7B-4A16-09C6-E3158BE6E777}"/>
          </ac:spMkLst>
        </pc:spChg>
        <pc:spChg chg="add mod">
          <ac:chgData name="Virginie PONCET" userId="ebcd993a-a2ce-4546-82a8-b8fa2d7b77e1" providerId="ADAL" clId="{E5B7E8CE-123C-4CA0-9A8C-CD46EC48866B}" dt="2023-10-20T07:34:36.097" v="1765" actId="404"/>
          <ac:spMkLst>
            <pc:docMk/>
            <pc:sldMk cId="3811174594" sldId="2142533965"/>
            <ac:spMk id="7" creationId="{52AE5D56-970C-61A9-FE23-A5BA973CF9D9}"/>
          </ac:spMkLst>
        </pc:spChg>
        <pc:spChg chg="mod">
          <ac:chgData name="Virginie PONCET" userId="ebcd993a-a2ce-4546-82a8-b8fa2d7b77e1" providerId="ADAL" clId="{E5B7E8CE-123C-4CA0-9A8C-CD46EC48866B}" dt="2023-10-20T07:33:36.036" v="1718"/>
          <ac:spMkLst>
            <pc:docMk/>
            <pc:sldMk cId="3811174594" sldId="2142533965"/>
            <ac:spMk id="9" creationId="{BE63E24F-97AD-B12B-F879-707BE2F898A1}"/>
          </ac:spMkLst>
        </pc:spChg>
        <pc:spChg chg="mod">
          <ac:chgData name="Virginie PONCET" userId="ebcd993a-a2ce-4546-82a8-b8fa2d7b77e1" providerId="ADAL" clId="{E5B7E8CE-123C-4CA0-9A8C-CD46EC48866B}" dt="2023-10-20T07:33:36.036" v="1718"/>
          <ac:spMkLst>
            <pc:docMk/>
            <pc:sldMk cId="3811174594" sldId="2142533965"/>
            <ac:spMk id="10" creationId="{AF946101-F805-CC40-0C99-AC63EA390420}"/>
          </ac:spMkLst>
        </pc:spChg>
        <pc:spChg chg="mod">
          <ac:chgData name="Virginie PONCET" userId="ebcd993a-a2ce-4546-82a8-b8fa2d7b77e1" providerId="ADAL" clId="{E5B7E8CE-123C-4CA0-9A8C-CD46EC48866B}" dt="2023-10-20T07:33:36.036" v="1718"/>
          <ac:spMkLst>
            <pc:docMk/>
            <pc:sldMk cId="3811174594" sldId="2142533965"/>
            <ac:spMk id="11" creationId="{0A4D1481-5409-8B77-75AE-BF2A5AC20749}"/>
          </ac:spMkLst>
        </pc:spChg>
        <pc:spChg chg="mod">
          <ac:chgData name="Virginie PONCET" userId="ebcd993a-a2ce-4546-82a8-b8fa2d7b77e1" providerId="ADAL" clId="{E5B7E8CE-123C-4CA0-9A8C-CD46EC48866B}" dt="2023-10-20T07:33:36.036" v="1718"/>
          <ac:spMkLst>
            <pc:docMk/>
            <pc:sldMk cId="3811174594" sldId="2142533965"/>
            <ac:spMk id="12" creationId="{963CC48C-53E5-FF49-3D27-15063A6994A3}"/>
          </ac:spMkLst>
        </pc:spChg>
        <pc:spChg chg="mod">
          <ac:chgData name="Virginie PONCET" userId="ebcd993a-a2ce-4546-82a8-b8fa2d7b77e1" providerId="ADAL" clId="{E5B7E8CE-123C-4CA0-9A8C-CD46EC48866B}" dt="2023-10-20T07:33:36.036" v="1718"/>
          <ac:spMkLst>
            <pc:docMk/>
            <pc:sldMk cId="3811174594" sldId="2142533965"/>
            <ac:spMk id="13" creationId="{101B8150-5C16-41EC-4E25-0BEF27E8ADE2}"/>
          </ac:spMkLst>
        </pc:spChg>
        <pc:spChg chg="mod">
          <ac:chgData name="Virginie PONCET" userId="ebcd993a-a2ce-4546-82a8-b8fa2d7b77e1" providerId="ADAL" clId="{E5B7E8CE-123C-4CA0-9A8C-CD46EC48866B}" dt="2023-10-20T07:33:36.036" v="1718"/>
          <ac:spMkLst>
            <pc:docMk/>
            <pc:sldMk cId="3811174594" sldId="2142533965"/>
            <ac:spMk id="14" creationId="{EAC37DF8-1639-365C-E4B4-7B0ED697AFFA}"/>
          </ac:spMkLst>
        </pc:spChg>
        <pc:spChg chg="mod">
          <ac:chgData name="Virginie PONCET" userId="ebcd993a-a2ce-4546-82a8-b8fa2d7b77e1" providerId="ADAL" clId="{E5B7E8CE-123C-4CA0-9A8C-CD46EC48866B}" dt="2023-10-20T07:33:36.036" v="1718"/>
          <ac:spMkLst>
            <pc:docMk/>
            <pc:sldMk cId="3811174594" sldId="2142533965"/>
            <ac:spMk id="15" creationId="{976FFBF1-42C5-30B6-E630-02DD40C6ABBD}"/>
          </ac:spMkLst>
        </pc:spChg>
        <pc:spChg chg="mod">
          <ac:chgData name="Virginie PONCET" userId="ebcd993a-a2ce-4546-82a8-b8fa2d7b77e1" providerId="ADAL" clId="{E5B7E8CE-123C-4CA0-9A8C-CD46EC48866B}" dt="2023-10-20T07:33:36.036" v="1718"/>
          <ac:spMkLst>
            <pc:docMk/>
            <pc:sldMk cId="3811174594" sldId="2142533965"/>
            <ac:spMk id="16" creationId="{63AA7968-BA50-93F8-D5B2-917A85E6FC83}"/>
          </ac:spMkLst>
        </pc:spChg>
        <pc:spChg chg="add mod">
          <ac:chgData name="Virginie PONCET" userId="ebcd993a-a2ce-4546-82a8-b8fa2d7b77e1" providerId="ADAL" clId="{E5B7E8CE-123C-4CA0-9A8C-CD46EC48866B}" dt="2023-10-20T07:33:45.139" v="1733" actId="1036"/>
          <ac:spMkLst>
            <pc:docMk/>
            <pc:sldMk cId="3811174594" sldId="2142533965"/>
            <ac:spMk id="17" creationId="{FC06C847-91C7-28D1-46DC-E01F6E7EE295}"/>
          </ac:spMkLst>
        </pc:spChg>
        <pc:spChg chg="add mod">
          <ac:chgData name="Virginie PONCET" userId="ebcd993a-a2ce-4546-82a8-b8fa2d7b77e1" providerId="ADAL" clId="{E5B7E8CE-123C-4CA0-9A8C-CD46EC48866B}" dt="2023-10-20T07:33:36.036" v="1718"/>
          <ac:spMkLst>
            <pc:docMk/>
            <pc:sldMk cId="3811174594" sldId="2142533965"/>
            <ac:spMk id="18" creationId="{2F741B20-FC73-FCE5-0877-AD128FF27662}"/>
          </ac:spMkLst>
        </pc:spChg>
        <pc:spChg chg="add mod">
          <ac:chgData name="Virginie PONCET" userId="ebcd993a-a2ce-4546-82a8-b8fa2d7b77e1" providerId="ADAL" clId="{E5B7E8CE-123C-4CA0-9A8C-CD46EC48866B}" dt="2023-10-20T07:33:36.036" v="1718"/>
          <ac:spMkLst>
            <pc:docMk/>
            <pc:sldMk cId="3811174594" sldId="2142533965"/>
            <ac:spMk id="19" creationId="{1BCD4CBA-AFD6-F6D7-6D3E-071B084639A7}"/>
          </ac:spMkLst>
        </pc:spChg>
        <pc:spChg chg="add mod">
          <ac:chgData name="Virginie PONCET" userId="ebcd993a-a2ce-4546-82a8-b8fa2d7b77e1" providerId="ADAL" clId="{E5B7E8CE-123C-4CA0-9A8C-CD46EC48866B}" dt="2023-10-20T07:33:45.139" v="1733" actId="1036"/>
          <ac:spMkLst>
            <pc:docMk/>
            <pc:sldMk cId="3811174594" sldId="2142533965"/>
            <ac:spMk id="20" creationId="{DE8849B3-DB1C-5BCA-B14D-8FB6E5091244}"/>
          </ac:spMkLst>
        </pc:spChg>
        <pc:spChg chg="add mod">
          <ac:chgData name="Virginie PONCET" userId="ebcd993a-a2ce-4546-82a8-b8fa2d7b77e1" providerId="ADAL" clId="{E5B7E8CE-123C-4CA0-9A8C-CD46EC48866B}" dt="2023-10-20T07:33:45.139" v="1733" actId="1036"/>
          <ac:spMkLst>
            <pc:docMk/>
            <pc:sldMk cId="3811174594" sldId="2142533965"/>
            <ac:spMk id="21" creationId="{E86BFA37-1185-D7A3-2A7B-B9A1486E1763}"/>
          </ac:spMkLst>
        </pc:spChg>
        <pc:spChg chg="add mod">
          <ac:chgData name="Virginie PONCET" userId="ebcd993a-a2ce-4546-82a8-b8fa2d7b77e1" providerId="ADAL" clId="{E5B7E8CE-123C-4CA0-9A8C-CD46EC48866B}" dt="2023-10-20T07:33:45.139" v="1733" actId="1036"/>
          <ac:spMkLst>
            <pc:docMk/>
            <pc:sldMk cId="3811174594" sldId="2142533965"/>
            <ac:spMk id="22" creationId="{B5D61D5C-8245-1646-EC3D-1240F9CA403B}"/>
          </ac:spMkLst>
        </pc:spChg>
        <pc:spChg chg="add mod">
          <ac:chgData name="Virginie PONCET" userId="ebcd993a-a2ce-4546-82a8-b8fa2d7b77e1" providerId="ADAL" clId="{E5B7E8CE-123C-4CA0-9A8C-CD46EC48866B}" dt="2023-10-20T07:33:45.139" v="1733" actId="1036"/>
          <ac:spMkLst>
            <pc:docMk/>
            <pc:sldMk cId="3811174594" sldId="2142533965"/>
            <ac:spMk id="23" creationId="{33A36F8D-EF26-EFA3-43CF-6D18E2B2936C}"/>
          </ac:spMkLst>
        </pc:spChg>
        <pc:spChg chg="add mod">
          <ac:chgData name="Virginie PONCET" userId="ebcd993a-a2ce-4546-82a8-b8fa2d7b77e1" providerId="ADAL" clId="{E5B7E8CE-123C-4CA0-9A8C-CD46EC48866B}" dt="2023-10-20T07:33:45.139" v="1733" actId="1036"/>
          <ac:spMkLst>
            <pc:docMk/>
            <pc:sldMk cId="3811174594" sldId="2142533965"/>
            <ac:spMk id="24" creationId="{DC2F2016-51FE-A7CC-67B6-08DC25405F9E}"/>
          </ac:spMkLst>
        </pc:spChg>
        <pc:spChg chg="add mod">
          <ac:chgData name="Virginie PONCET" userId="ebcd993a-a2ce-4546-82a8-b8fa2d7b77e1" providerId="ADAL" clId="{E5B7E8CE-123C-4CA0-9A8C-CD46EC48866B}" dt="2023-10-20T07:33:45.139" v="1733" actId="1036"/>
          <ac:spMkLst>
            <pc:docMk/>
            <pc:sldMk cId="3811174594" sldId="2142533965"/>
            <ac:spMk id="25" creationId="{868B46B6-C2BC-2A77-3146-D6A51B96DA14}"/>
          </ac:spMkLst>
        </pc:spChg>
        <pc:spChg chg="add mod">
          <ac:chgData name="Virginie PONCET" userId="ebcd993a-a2ce-4546-82a8-b8fa2d7b77e1" providerId="ADAL" clId="{E5B7E8CE-123C-4CA0-9A8C-CD46EC48866B}" dt="2023-10-20T07:33:45.139" v="1733" actId="1036"/>
          <ac:spMkLst>
            <pc:docMk/>
            <pc:sldMk cId="3811174594" sldId="2142533965"/>
            <ac:spMk id="26" creationId="{0B4ECB29-2C25-1FDB-AA21-9383CA111329}"/>
          </ac:spMkLst>
        </pc:spChg>
        <pc:spChg chg="add mod">
          <ac:chgData name="Virginie PONCET" userId="ebcd993a-a2ce-4546-82a8-b8fa2d7b77e1" providerId="ADAL" clId="{E5B7E8CE-123C-4CA0-9A8C-CD46EC48866B}" dt="2023-10-20T07:33:45.139" v="1733" actId="1036"/>
          <ac:spMkLst>
            <pc:docMk/>
            <pc:sldMk cId="3811174594" sldId="2142533965"/>
            <ac:spMk id="27" creationId="{3C6F77E2-2932-442B-C7F0-2570237B04FC}"/>
          </ac:spMkLst>
        </pc:spChg>
        <pc:spChg chg="add mod">
          <ac:chgData name="Virginie PONCET" userId="ebcd993a-a2ce-4546-82a8-b8fa2d7b77e1" providerId="ADAL" clId="{E5B7E8CE-123C-4CA0-9A8C-CD46EC48866B}" dt="2023-10-20T07:33:45.139" v="1733" actId="1036"/>
          <ac:spMkLst>
            <pc:docMk/>
            <pc:sldMk cId="3811174594" sldId="2142533965"/>
            <ac:spMk id="28" creationId="{DE27D662-2220-BA3B-AF42-4BC6BA81F5D5}"/>
          </ac:spMkLst>
        </pc:spChg>
        <pc:spChg chg="add mod">
          <ac:chgData name="Virginie PONCET" userId="ebcd993a-a2ce-4546-82a8-b8fa2d7b77e1" providerId="ADAL" clId="{E5B7E8CE-123C-4CA0-9A8C-CD46EC48866B}" dt="2023-10-20T07:33:45.139" v="1733" actId="1036"/>
          <ac:spMkLst>
            <pc:docMk/>
            <pc:sldMk cId="3811174594" sldId="2142533965"/>
            <ac:spMk id="29" creationId="{96D4DB67-1152-CFDE-9CF0-0DE6A7BE9F0E}"/>
          </ac:spMkLst>
        </pc:spChg>
        <pc:spChg chg="mod">
          <ac:chgData name="Virginie PONCET" userId="ebcd993a-a2ce-4546-82a8-b8fa2d7b77e1" providerId="ADAL" clId="{E5B7E8CE-123C-4CA0-9A8C-CD46EC48866B}" dt="2023-10-20T07:33:36.036" v="1718"/>
          <ac:spMkLst>
            <pc:docMk/>
            <pc:sldMk cId="3811174594" sldId="2142533965"/>
            <ac:spMk id="31" creationId="{47776380-0516-2E26-AE93-1805BA7AD37C}"/>
          </ac:spMkLst>
        </pc:spChg>
        <pc:spChg chg="mod">
          <ac:chgData name="Virginie PONCET" userId="ebcd993a-a2ce-4546-82a8-b8fa2d7b77e1" providerId="ADAL" clId="{E5B7E8CE-123C-4CA0-9A8C-CD46EC48866B}" dt="2023-10-20T07:33:36.036" v="1718"/>
          <ac:spMkLst>
            <pc:docMk/>
            <pc:sldMk cId="3811174594" sldId="2142533965"/>
            <ac:spMk id="32" creationId="{925755C4-8BE4-571F-4E4A-8116A52963C7}"/>
          </ac:spMkLst>
        </pc:spChg>
        <pc:spChg chg="add mod">
          <ac:chgData name="Virginie PONCET" userId="ebcd993a-a2ce-4546-82a8-b8fa2d7b77e1" providerId="ADAL" clId="{E5B7E8CE-123C-4CA0-9A8C-CD46EC48866B}" dt="2023-10-20T07:33:45.139" v="1733" actId="1036"/>
          <ac:spMkLst>
            <pc:docMk/>
            <pc:sldMk cId="3811174594" sldId="2142533965"/>
            <ac:spMk id="33" creationId="{EF47E552-B87D-C0D5-360A-DC1474C8D5FF}"/>
          </ac:spMkLst>
        </pc:spChg>
        <pc:spChg chg="mod">
          <ac:chgData name="Virginie PONCET" userId="ebcd993a-a2ce-4546-82a8-b8fa2d7b77e1" providerId="ADAL" clId="{E5B7E8CE-123C-4CA0-9A8C-CD46EC48866B}" dt="2023-10-20T07:33:36.036" v="1718"/>
          <ac:spMkLst>
            <pc:docMk/>
            <pc:sldMk cId="3811174594" sldId="2142533965"/>
            <ac:spMk id="35" creationId="{CC912A30-C0B6-79B2-88A5-B71CDED7F5B3}"/>
          </ac:spMkLst>
        </pc:spChg>
        <pc:spChg chg="mod">
          <ac:chgData name="Virginie PONCET" userId="ebcd993a-a2ce-4546-82a8-b8fa2d7b77e1" providerId="ADAL" clId="{E5B7E8CE-123C-4CA0-9A8C-CD46EC48866B}" dt="2023-10-20T07:33:36.036" v="1718"/>
          <ac:spMkLst>
            <pc:docMk/>
            <pc:sldMk cId="3811174594" sldId="2142533965"/>
            <ac:spMk id="36" creationId="{7967BCE0-A599-1B72-EE3C-5BDC858A2008}"/>
          </ac:spMkLst>
        </pc:spChg>
        <pc:spChg chg="add mod">
          <ac:chgData name="Virginie PONCET" userId="ebcd993a-a2ce-4546-82a8-b8fa2d7b77e1" providerId="ADAL" clId="{E5B7E8CE-123C-4CA0-9A8C-CD46EC48866B}" dt="2023-10-20T07:33:45.139" v="1733" actId="1036"/>
          <ac:spMkLst>
            <pc:docMk/>
            <pc:sldMk cId="3811174594" sldId="2142533965"/>
            <ac:spMk id="37" creationId="{48CC1362-328A-89B2-391D-04E206DAA353}"/>
          </ac:spMkLst>
        </pc:spChg>
        <pc:spChg chg="add mod">
          <ac:chgData name="Virginie PONCET" userId="ebcd993a-a2ce-4546-82a8-b8fa2d7b77e1" providerId="ADAL" clId="{E5B7E8CE-123C-4CA0-9A8C-CD46EC48866B}" dt="2023-10-20T07:33:45.139" v="1733" actId="1036"/>
          <ac:spMkLst>
            <pc:docMk/>
            <pc:sldMk cId="3811174594" sldId="2142533965"/>
            <ac:spMk id="38" creationId="{28D9148C-09C8-CA3A-2197-87A495060E6D}"/>
          </ac:spMkLst>
        </pc:spChg>
        <pc:spChg chg="add mod">
          <ac:chgData name="Virginie PONCET" userId="ebcd993a-a2ce-4546-82a8-b8fa2d7b77e1" providerId="ADAL" clId="{E5B7E8CE-123C-4CA0-9A8C-CD46EC48866B}" dt="2023-10-20T07:33:45.139" v="1733" actId="1036"/>
          <ac:spMkLst>
            <pc:docMk/>
            <pc:sldMk cId="3811174594" sldId="2142533965"/>
            <ac:spMk id="39" creationId="{0C080C1E-18F8-1F38-9F8C-251D73AFBF5E}"/>
          </ac:spMkLst>
        </pc:spChg>
        <pc:spChg chg="add mod">
          <ac:chgData name="Virginie PONCET" userId="ebcd993a-a2ce-4546-82a8-b8fa2d7b77e1" providerId="ADAL" clId="{E5B7E8CE-123C-4CA0-9A8C-CD46EC48866B}" dt="2023-10-20T07:33:45.139" v="1733" actId="1036"/>
          <ac:spMkLst>
            <pc:docMk/>
            <pc:sldMk cId="3811174594" sldId="2142533965"/>
            <ac:spMk id="40" creationId="{C19DE95C-5911-C34A-CD41-73A1B158DBBE}"/>
          </ac:spMkLst>
        </pc:spChg>
        <pc:spChg chg="add mod">
          <ac:chgData name="Virginie PONCET" userId="ebcd993a-a2ce-4546-82a8-b8fa2d7b77e1" providerId="ADAL" clId="{E5B7E8CE-123C-4CA0-9A8C-CD46EC48866B}" dt="2023-10-20T07:33:45.139" v="1733" actId="1036"/>
          <ac:spMkLst>
            <pc:docMk/>
            <pc:sldMk cId="3811174594" sldId="2142533965"/>
            <ac:spMk id="41" creationId="{AE08440B-6F9F-03B2-79AF-645DFFAEA66F}"/>
          </ac:spMkLst>
        </pc:spChg>
        <pc:grpChg chg="add mod">
          <ac:chgData name="Virginie PONCET" userId="ebcd993a-a2ce-4546-82a8-b8fa2d7b77e1" providerId="ADAL" clId="{E5B7E8CE-123C-4CA0-9A8C-CD46EC48866B}" dt="2023-10-20T07:33:55.155" v="1734" actId="14100"/>
          <ac:grpSpMkLst>
            <pc:docMk/>
            <pc:sldMk cId="3811174594" sldId="2142533965"/>
            <ac:grpSpMk id="3" creationId="{4BCF206B-5C37-3BB4-FD71-C958A389BA03}"/>
          </ac:grpSpMkLst>
        </pc:grpChg>
        <pc:grpChg chg="add mod">
          <ac:chgData name="Virginie PONCET" userId="ebcd993a-a2ce-4546-82a8-b8fa2d7b77e1" providerId="ADAL" clId="{E5B7E8CE-123C-4CA0-9A8C-CD46EC48866B}" dt="2023-10-20T07:33:36.036" v="1718"/>
          <ac:grpSpMkLst>
            <pc:docMk/>
            <pc:sldMk cId="3811174594" sldId="2142533965"/>
            <ac:grpSpMk id="8" creationId="{90CEB3C4-D193-E976-E2BC-E17872D48857}"/>
          </ac:grpSpMkLst>
        </pc:grpChg>
        <pc:grpChg chg="add mod">
          <ac:chgData name="Virginie PONCET" userId="ebcd993a-a2ce-4546-82a8-b8fa2d7b77e1" providerId="ADAL" clId="{E5B7E8CE-123C-4CA0-9A8C-CD46EC48866B}" dt="2023-10-20T07:33:45.139" v="1733" actId="1036"/>
          <ac:grpSpMkLst>
            <pc:docMk/>
            <pc:sldMk cId="3811174594" sldId="2142533965"/>
            <ac:grpSpMk id="30" creationId="{2F7FAE81-3528-8690-E147-A5EA60621498}"/>
          </ac:grpSpMkLst>
        </pc:grpChg>
        <pc:grpChg chg="add mod">
          <ac:chgData name="Virginie PONCET" userId="ebcd993a-a2ce-4546-82a8-b8fa2d7b77e1" providerId="ADAL" clId="{E5B7E8CE-123C-4CA0-9A8C-CD46EC48866B}" dt="2023-10-20T07:33:45.139" v="1733" actId="1036"/>
          <ac:grpSpMkLst>
            <pc:docMk/>
            <pc:sldMk cId="3811174594" sldId="2142533965"/>
            <ac:grpSpMk id="34" creationId="{822FD12B-2B9F-B992-C35A-23067B3CB7FE}"/>
          </ac:grpSpMkLst>
        </pc:grpChg>
      </pc:sldChg>
      <pc:sldChg chg="addSp modSp new mod">
        <pc:chgData name="Virginie PONCET" userId="ebcd993a-a2ce-4546-82a8-b8fa2d7b77e1" providerId="ADAL" clId="{E5B7E8CE-123C-4CA0-9A8C-CD46EC48866B}" dt="2023-10-20T07:38:12.928" v="1967" actId="1037"/>
        <pc:sldMkLst>
          <pc:docMk/>
          <pc:sldMk cId="1903764582" sldId="2142533966"/>
        </pc:sldMkLst>
        <pc:spChg chg="add mod">
          <ac:chgData name="Virginie PONCET" userId="ebcd993a-a2ce-4546-82a8-b8fa2d7b77e1" providerId="ADAL" clId="{E5B7E8CE-123C-4CA0-9A8C-CD46EC48866B}" dt="2023-10-20T07:37:03.641" v="1858" actId="14100"/>
          <ac:spMkLst>
            <pc:docMk/>
            <pc:sldMk cId="1903764582" sldId="2142533966"/>
            <ac:spMk id="3" creationId="{0DA0B0ED-9A83-4D59-D212-6259CAC38E3F}"/>
          </ac:spMkLst>
        </pc:spChg>
        <pc:spChg chg="add mod">
          <ac:chgData name="Virginie PONCET" userId="ebcd993a-a2ce-4546-82a8-b8fa2d7b77e1" providerId="ADAL" clId="{E5B7E8CE-123C-4CA0-9A8C-CD46EC48866B}" dt="2023-10-20T07:37:10.354" v="1869" actId="1036"/>
          <ac:spMkLst>
            <pc:docMk/>
            <pc:sldMk cId="1903764582" sldId="2142533966"/>
            <ac:spMk id="4" creationId="{1DFBFAB6-6889-4C5A-3DDB-D29D280211C4}"/>
          </ac:spMkLst>
        </pc:spChg>
        <pc:spChg chg="add mod">
          <ac:chgData name="Virginie PONCET" userId="ebcd993a-a2ce-4546-82a8-b8fa2d7b77e1" providerId="ADAL" clId="{E5B7E8CE-123C-4CA0-9A8C-CD46EC48866B}" dt="2023-10-20T07:37:18.844" v="1877" actId="1035"/>
          <ac:spMkLst>
            <pc:docMk/>
            <pc:sldMk cId="1903764582" sldId="2142533966"/>
            <ac:spMk id="5" creationId="{EA898597-C0E8-F029-242D-192335B66D71}"/>
          </ac:spMkLst>
        </pc:spChg>
        <pc:spChg chg="add mod">
          <ac:chgData name="Virginie PONCET" userId="ebcd993a-a2ce-4546-82a8-b8fa2d7b77e1" providerId="ADAL" clId="{E5B7E8CE-123C-4CA0-9A8C-CD46EC48866B}" dt="2023-10-20T07:36:46.100" v="1844" actId="1076"/>
          <ac:spMkLst>
            <pc:docMk/>
            <pc:sldMk cId="1903764582" sldId="2142533966"/>
            <ac:spMk id="6" creationId="{CCB2BFEF-B8D4-5FA3-43D7-686E844A92E1}"/>
          </ac:spMkLst>
        </pc:spChg>
        <pc:spChg chg="add mod">
          <ac:chgData name="Virginie PONCET" userId="ebcd993a-a2ce-4546-82a8-b8fa2d7b77e1" providerId="ADAL" clId="{E5B7E8CE-123C-4CA0-9A8C-CD46EC48866B}" dt="2023-10-20T07:38:04.113" v="1932" actId="1035"/>
          <ac:spMkLst>
            <pc:docMk/>
            <pc:sldMk cId="1903764582" sldId="2142533966"/>
            <ac:spMk id="7" creationId="{C3429218-1C18-B683-5218-B58C03308DCC}"/>
          </ac:spMkLst>
        </pc:spChg>
        <pc:spChg chg="add mod">
          <ac:chgData name="Virginie PONCET" userId="ebcd993a-a2ce-4546-82a8-b8fa2d7b77e1" providerId="ADAL" clId="{E5B7E8CE-123C-4CA0-9A8C-CD46EC48866B}" dt="2023-10-20T07:37:54.170" v="1921" actId="1035"/>
          <ac:spMkLst>
            <pc:docMk/>
            <pc:sldMk cId="1903764582" sldId="2142533966"/>
            <ac:spMk id="8" creationId="{473498BE-228D-4166-2936-0BDB12E60192}"/>
          </ac:spMkLst>
        </pc:spChg>
        <pc:spChg chg="add mod">
          <ac:chgData name="Virginie PONCET" userId="ebcd993a-a2ce-4546-82a8-b8fa2d7b77e1" providerId="ADAL" clId="{E5B7E8CE-123C-4CA0-9A8C-CD46EC48866B}" dt="2023-10-20T07:37:41.857" v="1892" actId="1036"/>
          <ac:spMkLst>
            <pc:docMk/>
            <pc:sldMk cId="1903764582" sldId="2142533966"/>
            <ac:spMk id="9" creationId="{599CFB21-BE5A-471E-5926-2E4EF430C661}"/>
          </ac:spMkLst>
        </pc:spChg>
        <pc:spChg chg="add mod">
          <ac:chgData name="Virginie PONCET" userId="ebcd993a-a2ce-4546-82a8-b8fa2d7b77e1" providerId="ADAL" clId="{E5B7E8CE-123C-4CA0-9A8C-CD46EC48866B}" dt="2023-10-20T07:37:41.857" v="1892" actId="1036"/>
          <ac:spMkLst>
            <pc:docMk/>
            <pc:sldMk cId="1903764582" sldId="2142533966"/>
            <ac:spMk id="10" creationId="{18ECA019-E135-F177-3CEB-A921C2F4B01E}"/>
          </ac:spMkLst>
        </pc:spChg>
        <pc:spChg chg="add mod">
          <ac:chgData name="Virginie PONCET" userId="ebcd993a-a2ce-4546-82a8-b8fa2d7b77e1" providerId="ADAL" clId="{E5B7E8CE-123C-4CA0-9A8C-CD46EC48866B}" dt="2023-10-20T07:37:41.857" v="1892" actId="1036"/>
          <ac:spMkLst>
            <pc:docMk/>
            <pc:sldMk cId="1903764582" sldId="2142533966"/>
            <ac:spMk id="11" creationId="{A9110179-696D-2D45-EF14-5284DE419285}"/>
          </ac:spMkLst>
        </pc:spChg>
        <pc:spChg chg="mod">
          <ac:chgData name="Virginie PONCET" userId="ebcd993a-a2ce-4546-82a8-b8fa2d7b77e1" providerId="ADAL" clId="{E5B7E8CE-123C-4CA0-9A8C-CD46EC48866B}" dt="2023-10-20T07:35:16.677" v="1768"/>
          <ac:spMkLst>
            <pc:docMk/>
            <pc:sldMk cId="1903764582" sldId="2142533966"/>
            <ac:spMk id="13" creationId="{72BC9E22-8C3A-BA91-FB13-F727ADF4DEDC}"/>
          </ac:spMkLst>
        </pc:spChg>
        <pc:spChg chg="mod">
          <ac:chgData name="Virginie PONCET" userId="ebcd993a-a2ce-4546-82a8-b8fa2d7b77e1" providerId="ADAL" clId="{E5B7E8CE-123C-4CA0-9A8C-CD46EC48866B}" dt="2023-10-20T07:35:16.677" v="1768"/>
          <ac:spMkLst>
            <pc:docMk/>
            <pc:sldMk cId="1903764582" sldId="2142533966"/>
            <ac:spMk id="14" creationId="{66D5F2B0-9D22-DECD-3F1D-46A721C00D50}"/>
          </ac:spMkLst>
        </pc:spChg>
        <pc:spChg chg="add mod">
          <ac:chgData name="Virginie PONCET" userId="ebcd993a-a2ce-4546-82a8-b8fa2d7b77e1" providerId="ADAL" clId="{E5B7E8CE-123C-4CA0-9A8C-CD46EC48866B}" dt="2023-10-20T07:36:04.921" v="1842" actId="1036"/>
          <ac:spMkLst>
            <pc:docMk/>
            <pc:sldMk cId="1903764582" sldId="2142533966"/>
            <ac:spMk id="15" creationId="{E2F7C2D9-93E4-EE01-1D96-13EE27C3DE6D}"/>
          </ac:spMkLst>
        </pc:spChg>
        <pc:spChg chg="add mod">
          <ac:chgData name="Virginie PONCET" userId="ebcd993a-a2ce-4546-82a8-b8fa2d7b77e1" providerId="ADAL" clId="{E5B7E8CE-123C-4CA0-9A8C-CD46EC48866B}" dt="2023-10-20T07:36:04.921" v="1842" actId="1036"/>
          <ac:spMkLst>
            <pc:docMk/>
            <pc:sldMk cId="1903764582" sldId="2142533966"/>
            <ac:spMk id="16" creationId="{38440BD6-2EB2-4C38-C4AA-EAC51895BA69}"/>
          </ac:spMkLst>
        </pc:spChg>
        <pc:spChg chg="add mod">
          <ac:chgData name="Virginie PONCET" userId="ebcd993a-a2ce-4546-82a8-b8fa2d7b77e1" providerId="ADAL" clId="{E5B7E8CE-123C-4CA0-9A8C-CD46EC48866B}" dt="2023-10-20T07:37:41.857" v="1892" actId="1036"/>
          <ac:spMkLst>
            <pc:docMk/>
            <pc:sldMk cId="1903764582" sldId="2142533966"/>
            <ac:spMk id="17" creationId="{8031E3EE-D86B-5446-5871-3884E9BA3D05}"/>
          </ac:spMkLst>
        </pc:spChg>
        <pc:spChg chg="add mod">
          <ac:chgData name="Virginie PONCET" userId="ebcd993a-a2ce-4546-82a8-b8fa2d7b77e1" providerId="ADAL" clId="{E5B7E8CE-123C-4CA0-9A8C-CD46EC48866B}" dt="2023-10-20T07:38:12.928" v="1967" actId="1037"/>
          <ac:spMkLst>
            <pc:docMk/>
            <pc:sldMk cId="1903764582" sldId="2142533966"/>
            <ac:spMk id="18" creationId="{13982BA9-E4EC-4D87-4BCE-952A416D91E3}"/>
          </ac:spMkLst>
        </pc:spChg>
        <pc:spChg chg="add mod">
          <ac:chgData name="Virginie PONCET" userId="ebcd993a-a2ce-4546-82a8-b8fa2d7b77e1" providerId="ADAL" clId="{E5B7E8CE-123C-4CA0-9A8C-CD46EC48866B}" dt="2023-10-20T07:38:12.928" v="1967" actId="1037"/>
          <ac:spMkLst>
            <pc:docMk/>
            <pc:sldMk cId="1903764582" sldId="2142533966"/>
            <ac:spMk id="19" creationId="{4BC90150-B214-8CE0-2640-3F85A9C02CDE}"/>
          </ac:spMkLst>
        </pc:spChg>
        <pc:spChg chg="add mod">
          <ac:chgData name="Virginie PONCET" userId="ebcd993a-a2ce-4546-82a8-b8fa2d7b77e1" providerId="ADAL" clId="{E5B7E8CE-123C-4CA0-9A8C-CD46EC48866B}" dt="2023-10-20T07:37:54.170" v="1921" actId="1035"/>
          <ac:spMkLst>
            <pc:docMk/>
            <pc:sldMk cId="1903764582" sldId="2142533966"/>
            <ac:spMk id="21" creationId="{CD14DEF9-7780-DB69-EA92-41C33FD34474}"/>
          </ac:spMkLst>
        </pc:spChg>
        <pc:grpChg chg="add mod">
          <ac:chgData name="Virginie PONCET" userId="ebcd993a-a2ce-4546-82a8-b8fa2d7b77e1" providerId="ADAL" clId="{E5B7E8CE-123C-4CA0-9A8C-CD46EC48866B}" dt="2023-10-20T07:36:50.572" v="1857" actId="1035"/>
          <ac:grpSpMkLst>
            <pc:docMk/>
            <pc:sldMk cId="1903764582" sldId="2142533966"/>
            <ac:grpSpMk id="12" creationId="{E829352D-1817-8039-297E-95C929F997B2}"/>
          </ac:grpSpMkLst>
        </pc:grpChg>
        <pc:picChg chg="add mod">
          <ac:chgData name="Virginie PONCET" userId="ebcd993a-a2ce-4546-82a8-b8fa2d7b77e1" providerId="ADAL" clId="{E5B7E8CE-123C-4CA0-9A8C-CD46EC48866B}" dt="2023-10-20T07:37:54.170" v="1921" actId="1035"/>
          <ac:picMkLst>
            <pc:docMk/>
            <pc:sldMk cId="1903764582" sldId="2142533966"/>
            <ac:picMk id="20" creationId="{000E21D8-4DF2-4CC7-7C1C-458FC7F152F6}"/>
          </ac:picMkLst>
        </pc:picChg>
      </pc:sldChg>
      <pc:sldMasterChg chg="modSp delSldLayout modSldLayout">
        <pc:chgData name="Virginie PONCET" userId="ebcd993a-a2ce-4546-82a8-b8fa2d7b77e1" providerId="ADAL" clId="{E5B7E8CE-123C-4CA0-9A8C-CD46EC48866B}" dt="2023-10-20T07:04:55.744" v="695"/>
        <pc:sldMasterMkLst>
          <pc:docMk/>
          <pc:sldMasterMk cId="0" sldId="2147483648"/>
        </pc:sldMasterMkLst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asterMk cId="0" sldId="2147483648"/>
            <ac:spMk id="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asterMk cId="0" sldId="2147483648"/>
            <ac:spMk id="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asterMk cId="0" sldId="2147483648"/>
            <ac:spMk id="8" creationId="{00000000-0000-0000-0000-000000000000}"/>
          </ac:spMkLst>
        </pc:spChg>
        <pc:picChg chg="mod">
          <ac:chgData name="Virginie PONCET" userId="ebcd993a-a2ce-4546-82a8-b8fa2d7b77e1" providerId="ADAL" clId="{E5B7E8CE-123C-4CA0-9A8C-CD46EC48866B}" dt="2023-10-20T07:04:55.744" v="695"/>
          <ac:picMkLst>
            <pc:docMk/>
            <pc:sldMasterMk cId="0" sldId="2147483648"/>
            <ac:picMk id="11" creationId="{00000000-0000-0000-0000-000000000000}"/>
          </ac:picMkLst>
        </pc:picChg>
        <pc:picChg chg="mod">
          <ac:chgData name="Virginie PONCET" userId="ebcd993a-a2ce-4546-82a8-b8fa2d7b77e1" providerId="ADAL" clId="{E5B7E8CE-123C-4CA0-9A8C-CD46EC48866B}" dt="2023-10-20T07:04:55.744" v="695"/>
          <ac:picMkLst>
            <pc:docMk/>
            <pc:sldMasterMk cId="0" sldId="2147483648"/>
            <ac:picMk id="15" creationId="{FE0E973C-DF6D-4C7F-8FD0-D95F5512609E}"/>
          </ac:picMkLst>
        </pc:picChg>
        <pc:cxnChg chg="mod">
          <ac:chgData name="Virginie PONCET" userId="ebcd993a-a2ce-4546-82a8-b8fa2d7b77e1" providerId="ADAL" clId="{E5B7E8CE-123C-4CA0-9A8C-CD46EC48866B}" dt="2023-10-20T07:04:55.744" v="695"/>
          <ac:cxnSpMkLst>
            <pc:docMk/>
            <pc:sldMasterMk cId="0" sldId="2147483648"/>
            <ac:cxnSpMk id="14" creationId="{00000000-0000-0000-0000-000000000000}"/>
          </ac:cxnSpMkLst>
        </pc:cxn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648"/>
            <pc:sldLayoutMk cId="0" sldId="2147483650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50"/>
              <ac:spMk id="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50"/>
              <ac:spMk id="1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50"/>
              <ac:spMk id="1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50"/>
              <ac:spMk id="14" creationId="{00000000-0000-0000-0000-000000000000}"/>
            </ac:spMkLst>
          </pc:sp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648"/>
            <pc:sldLayoutMk cId="0" sldId="2147483659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59"/>
              <ac:spMk id="2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59"/>
              <ac:spMk id="2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59"/>
              <ac:spMk id="29" creationId="{00000000-0000-0000-0000-000000000000}"/>
            </ac:spMkLst>
          </pc:sp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0" sldId="2147483648"/>
              <pc:sldLayoutMk cId="0" sldId="2147483659"/>
              <ac:picMk id="9" creationId="{00000000-0000-0000-0000-000000000000}"/>
            </ac:picMkLst>
          </pc:pic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0" sldId="2147483648"/>
              <pc:sldLayoutMk cId="0" sldId="2147483659"/>
              <ac:picMk id="12" creationId="{EDC69966-E0BA-45E1-85DA-21B4DACBAF66}"/>
            </ac:picMkLst>
          </pc:pic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0" sldId="2147483648"/>
              <pc:sldLayoutMk cId="0" sldId="2147483659"/>
              <ac:picMk id="15" creationId="{00000000-0000-0000-0000-000000000000}"/>
            </ac:picMkLst>
          </pc:pic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0" sldId="2147483648"/>
              <pc:sldLayoutMk cId="0" sldId="2147483659"/>
              <ac:picMk id="16" creationId="{00000000-0000-0000-0000-000000000000}"/>
            </ac:picMkLst>
          </pc:pic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648"/>
            <pc:sldLayoutMk cId="0" sldId="2147483661"/>
          </pc:sldLayoutMkLst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0" sldId="2147483648"/>
              <pc:sldLayoutMk cId="0" sldId="2147483661"/>
              <ac:picMk id="3" creationId="{956F82A1-0ED8-4448-9D28-4AF15D4C6555}"/>
            </ac:picMkLst>
          </pc:pic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648"/>
            <pc:sldLayoutMk cId="0" sldId="2147483662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62"/>
              <ac:spMk id="18" creationId="{3557324A-C482-467A-92D5-21BA49158CF1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62"/>
              <ac:spMk id="3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62"/>
              <ac:spMk id="3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62"/>
              <ac:spMk id="41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62"/>
              <ac:spMk id="4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62"/>
              <ac:spMk id="4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62"/>
              <ac:spMk id="4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62"/>
              <ac:spMk id="4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62"/>
              <ac:spMk id="4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62"/>
              <ac:spMk id="4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62"/>
              <ac:spMk id="48" creationId="{00000000-0000-0000-0000-000000000000}"/>
            </ac:spMkLst>
          </pc:sp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0" sldId="2147483648"/>
              <pc:sldLayoutMk cId="0" sldId="2147483662"/>
              <ac:picMk id="19" creationId="{8865262B-91EB-48B2-9935-5728FBE9AD2A}"/>
            </ac:picMkLst>
          </pc:pic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0" sldId="2147483648"/>
              <pc:sldLayoutMk cId="0" sldId="2147483662"/>
              <ac:picMk id="52" creationId="{00000000-0000-0000-0000-000000000000}"/>
            </ac:picMkLst>
          </pc:pic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648"/>
              <pc:sldLayoutMk cId="0" sldId="2147483662"/>
              <ac:cxnSpMk id="17" creationId="{BFBB2E75-397F-400C-95DF-D9667252FD7F}"/>
            </ac:cxnSpMkLst>
          </pc:cxn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648"/>
            <pc:sldLayoutMk cId="0" sldId="2147483666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66"/>
              <ac:spMk id="1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66"/>
              <ac:spMk id="1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66"/>
              <ac:spMk id="1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66"/>
              <ac:spMk id="1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66"/>
              <ac:spMk id="1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66"/>
              <ac:spMk id="1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66"/>
              <ac:spMk id="19" creationId="{00000000-0000-0000-0000-000000000000}"/>
            </ac:spMkLst>
          </pc:spChg>
          <pc:grpChg chg="mod">
            <ac:chgData name="Virginie PONCET" userId="ebcd993a-a2ce-4546-82a8-b8fa2d7b77e1" providerId="ADAL" clId="{E5B7E8CE-123C-4CA0-9A8C-CD46EC48866B}" dt="2023-10-20T07:04:55.744" v="695"/>
            <ac:grpSpMkLst>
              <pc:docMk/>
              <pc:sldMasterMk cId="0" sldId="2147483648"/>
              <pc:sldLayoutMk cId="0" sldId="2147483666"/>
              <ac:grpSpMk id="11" creationId="{00000000-0000-0000-0000-000000000000}"/>
            </ac:grpSpMkLst>
          </pc:grp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0" sldId="2147483648"/>
              <pc:sldLayoutMk cId="0" sldId="2147483666"/>
              <ac:picMk id="20" creationId="{8586D995-52E2-4F50-9D0E-CBB07450B704}"/>
            </ac:picMkLst>
          </pc:pic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648"/>
              <pc:sldLayoutMk cId="0" sldId="2147483666"/>
              <ac:cxnSpMk id="21" creationId="{00000000-0000-0000-0000-000000000000}"/>
            </ac:cxnSpMkLst>
          </pc:cxn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648"/>
            <pc:sldLayoutMk cId="0" sldId="2147483667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67"/>
              <ac:spMk id="1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67"/>
              <ac:spMk id="1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67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67"/>
              <ac:spMk id="1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67"/>
              <ac:spMk id="1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67"/>
              <ac:spMk id="1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67"/>
              <ac:spMk id="20" creationId="{00000000-0000-0000-0000-000000000000}"/>
            </ac:spMkLst>
          </pc:spChg>
          <pc:grpChg chg="mod">
            <ac:chgData name="Virginie PONCET" userId="ebcd993a-a2ce-4546-82a8-b8fa2d7b77e1" providerId="ADAL" clId="{E5B7E8CE-123C-4CA0-9A8C-CD46EC48866B}" dt="2023-10-20T07:04:55.744" v="695"/>
            <ac:grpSpMkLst>
              <pc:docMk/>
              <pc:sldMasterMk cId="0" sldId="2147483648"/>
              <pc:sldLayoutMk cId="0" sldId="2147483667"/>
              <ac:grpSpMk id="12" creationId="{00000000-0000-0000-0000-000000000000}"/>
            </ac:grpSpMkLst>
          </pc:grp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0" sldId="2147483648"/>
              <pc:sldLayoutMk cId="0" sldId="2147483667"/>
              <ac:picMk id="21" creationId="{539A3D69-BF5C-4CAE-80D6-09654B3EECB8}"/>
            </ac:picMkLst>
          </pc:pic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648"/>
              <pc:sldLayoutMk cId="0" sldId="2147483667"/>
              <ac:cxnSpMk id="19" creationId="{00000000-0000-0000-0000-000000000000}"/>
            </ac:cxnSpMkLst>
          </pc:cxn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648"/>
            <pc:sldLayoutMk cId="0" sldId="2147483668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68"/>
              <ac:spMk id="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68"/>
              <ac:spMk id="8" creationId="{00000000-0000-0000-0000-000000000000}"/>
            </ac:spMkLst>
          </pc:sp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0" sldId="2147483648"/>
              <pc:sldLayoutMk cId="0" sldId="2147483668"/>
              <ac:picMk id="5" creationId="{00000000-0000-0000-0000-000000000000}"/>
            </ac:picMkLst>
          </pc:pic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648"/>
            <pc:sldLayoutMk cId="0" sldId="2147483671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71"/>
              <ac:spMk id="1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71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71"/>
              <ac:spMk id="1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71"/>
              <ac:spMk id="1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71"/>
              <ac:spMk id="19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71"/>
              <ac:spMk id="2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71"/>
              <ac:spMk id="2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71"/>
              <ac:spMk id="2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71"/>
              <ac:spMk id="2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71"/>
              <ac:spMk id="2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71"/>
              <ac:spMk id="29" creationId="{00000000-0000-0000-0000-000000000000}"/>
            </ac:spMkLst>
          </pc:sp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648"/>
            <pc:sldLayoutMk cId="0" sldId="2147483673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73"/>
              <ac:spMk id="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73"/>
              <ac:spMk id="8" creationId="{E2BF1299-CAE1-4246-A5B7-84EA786928C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73"/>
              <ac:spMk id="1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73"/>
              <ac:spMk id="11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73"/>
              <ac:spMk id="12" creationId="{00000000-0000-0000-0000-000000000000}"/>
            </ac:spMkLst>
          </pc:sp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648"/>
            <pc:sldLayoutMk cId="0" sldId="2147483674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74"/>
              <ac:spMk id="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74"/>
              <ac:spMk id="1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74"/>
              <ac:spMk id="1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74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74"/>
              <ac:spMk id="1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0" sldId="2147483674"/>
              <ac:spMk id="18" creationId="{00000000-0000-0000-0000-000000000000}"/>
            </ac:spMkLst>
          </pc:sp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648"/>
            <pc:sldLayoutMk cId="3658310695" sldId="2147483676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3658310695" sldId="2147483676"/>
              <ac:spMk id="3" creationId="{00000000-0000-0000-0000-000000000000}"/>
            </ac:spMkLst>
          </pc:sp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0" sldId="2147483648"/>
              <pc:sldLayoutMk cId="3658310695" sldId="2147483676"/>
              <ac:picMk id="4" creationId="{6D241E23-15E7-4A3B-A5EC-A29CA4E85FB4}"/>
            </ac:picMkLst>
          </pc:pic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648"/>
            <pc:sldLayoutMk cId="703205203" sldId="2147483701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703205203" sldId="2147483701"/>
              <ac:spMk id="3" creationId="{00000000-0000-0000-0000-000000000000}"/>
            </ac:spMkLst>
          </pc:sp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648"/>
            <pc:sldLayoutMk cId="1142282616" sldId="2147483702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1142282616" sldId="2147483702"/>
              <ac:spMk id="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1142282616" sldId="2147483702"/>
              <ac:spMk id="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1142282616" sldId="2147483702"/>
              <ac:spMk id="1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1142282616" sldId="2147483702"/>
              <ac:spMk id="11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1142282616" sldId="2147483702"/>
              <ac:spMk id="1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1142282616" sldId="2147483702"/>
              <ac:spMk id="15" creationId="{00000000-0000-0000-0000-000000000000}"/>
            </ac:spMkLst>
          </pc:sp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648"/>
            <pc:sldLayoutMk cId="2494523797" sldId="2147483703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2494523797" sldId="2147483703"/>
              <ac:spMk id="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2494523797" sldId="2147483703"/>
              <ac:spMk id="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2494523797" sldId="2147483703"/>
              <ac:spMk id="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2494523797" sldId="2147483703"/>
              <ac:spMk id="1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2494523797" sldId="2147483703"/>
              <ac:spMk id="11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2494523797" sldId="2147483703"/>
              <ac:spMk id="12" creationId="{00000000-0000-0000-0000-000000000000}"/>
            </ac:spMkLst>
          </pc:sp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648"/>
            <pc:sldLayoutMk cId="919164368" sldId="2147483704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919164368" sldId="2147483704"/>
              <ac:spMk id="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919164368" sldId="2147483704"/>
              <ac:spMk id="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919164368" sldId="2147483704"/>
              <ac:spMk id="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919164368" sldId="2147483704"/>
              <ac:spMk id="1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919164368" sldId="2147483704"/>
              <ac:spMk id="11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919164368" sldId="2147483704"/>
              <ac:spMk id="1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919164368" sldId="2147483704"/>
              <ac:spMk id="13" creationId="{00000000-0000-0000-0000-000000000000}"/>
            </ac:spMkLst>
          </pc:sp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648"/>
              <pc:sldLayoutMk cId="919164368" sldId="2147483704"/>
              <ac:cxnSpMk id="15" creationId="{00000000-0000-0000-0000-000000000000}"/>
            </ac:cxnSpMkLst>
          </pc:cxn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648"/>
            <pc:sldLayoutMk cId="2498039212" sldId="2147483705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2498039212" sldId="2147483705"/>
              <ac:spMk id="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2498039212" sldId="2147483705"/>
              <ac:spMk id="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2498039212" sldId="2147483705"/>
              <ac:spMk id="1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2498039212" sldId="2147483705"/>
              <ac:spMk id="11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2498039212" sldId="2147483705"/>
              <ac:spMk id="1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2498039212" sldId="2147483705"/>
              <ac:spMk id="1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2498039212" sldId="2147483705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2498039212" sldId="2147483705"/>
              <ac:spMk id="17" creationId="{00000000-0000-0000-0000-000000000000}"/>
            </ac:spMkLst>
          </pc:sp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648"/>
              <pc:sldLayoutMk cId="2498039212" sldId="2147483705"/>
              <ac:cxnSpMk id="15" creationId="{00000000-0000-0000-0000-000000000000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648"/>
              <pc:sldLayoutMk cId="2498039212" sldId="2147483705"/>
              <ac:cxnSpMk id="16" creationId="{00000000-0000-0000-0000-000000000000}"/>
            </ac:cxnSpMkLst>
          </pc:cxn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648"/>
            <pc:sldLayoutMk cId="1986426206" sldId="2147483706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1986426206" sldId="2147483706"/>
              <ac:spMk id="9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1986426206" sldId="2147483706"/>
              <ac:spMk id="1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1986426206" sldId="2147483706"/>
              <ac:spMk id="11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1986426206" sldId="2147483706"/>
              <ac:spMk id="1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1986426206" sldId="2147483706"/>
              <ac:spMk id="1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1986426206" sldId="2147483706"/>
              <ac:spMk id="14" creationId="{00000000-0000-0000-0000-000000000000}"/>
            </ac:spMkLst>
          </pc:sp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648"/>
              <pc:sldLayoutMk cId="1986426206" sldId="2147483706"/>
              <ac:cxnSpMk id="16" creationId="{00000000-0000-0000-0000-000000000000}"/>
            </ac:cxnSpMkLst>
          </pc:cxn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648"/>
            <pc:sldLayoutMk cId="3349151917" sldId="2147483707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3349151917" sldId="2147483707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3349151917" sldId="2147483707"/>
              <ac:spMk id="1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3349151917" sldId="2147483707"/>
              <ac:spMk id="2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3349151917" sldId="2147483707"/>
              <ac:spMk id="24" creationId="{ED352006-6905-40BC-8AEE-8A6D662B327F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3349151917" sldId="2147483707"/>
              <ac:spMk id="25" creationId="{186BC0CC-CCE5-44BF-9ACB-14117BC01563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3349151917" sldId="2147483707"/>
              <ac:spMk id="28" creationId="{62C54668-8242-4D0E-8983-A5AF21752C5F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3349151917" sldId="2147483707"/>
              <ac:spMk id="29" creationId="{C78960D3-4CE1-4746-AFA5-CE52CBDDCBCB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3349151917" sldId="2147483707"/>
              <ac:spMk id="3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3349151917" sldId="2147483707"/>
              <ac:spMk id="3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3349151917" sldId="2147483707"/>
              <ac:spMk id="38" creationId="{59131C66-8D9E-467E-B7B9-1BBB7B69D904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3349151917" sldId="2147483707"/>
              <ac:spMk id="39" creationId="{2996BBCA-F0ED-4907-AA4E-C7CC8F3878C9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3349151917" sldId="2147483707"/>
              <ac:spMk id="40" creationId="{1437E138-D9FF-4A72-A730-215EF4009EE9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3349151917" sldId="2147483707"/>
              <ac:spMk id="41" creationId="{8D92D4F5-CA97-436B-ACBD-EE7B8C5975AF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3349151917" sldId="2147483707"/>
              <ac:spMk id="42" creationId="{4ED2C5F6-3E6C-4375-8669-7A3CAB1BC143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3349151917" sldId="2147483707"/>
              <ac:spMk id="43" creationId="{CAFEAA02-348E-40C8-994B-5BD4B13523AF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3349151917" sldId="2147483707"/>
              <ac:spMk id="44" creationId="{79453736-0CD8-40FC-B691-10EC9C54968D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3349151917" sldId="2147483707"/>
              <ac:spMk id="45" creationId="{D8FB5153-6E23-4931-8368-F632E0E94E16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3349151917" sldId="2147483707"/>
              <ac:spMk id="46" creationId="{2AB4BA13-E6A9-4CC4-9DD1-11EC7E8330BC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3349151917" sldId="2147483707"/>
              <ac:spMk id="47" creationId="{BD20CD7D-4360-4302-B1B5-03E1EE112A2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3349151917" sldId="2147483707"/>
              <ac:spMk id="48" creationId="{D45B2B62-654B-4A65-BD78-F8C912D1AC59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3349151917" sldId="2147483707"/>
              <ac:spMk id="49" creationId="{8AC88135-7D23-4322-8A0F-614B62D4EAF3}"/>
            </ac:spMkLst>
          </pc:sp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648"/>
            <pc:sldLayoutMk cId="1825413448" sldId="2147483708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1825413448" sldId="2147483708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1825413448" sldId="2147483708"/>
              <ac:spMk id="2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1825413448" sldId="2147483708"/>
              <ac:spMk id="35" creationId="{019F0D43-7745-44E1-80A8-FE5B0C9EE64E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1825413448" sldId="2147483708"/>
              <ac:spMk id="3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1825413448" sldId="2147483708"/>
              <ac:spMk id="3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1825413448" sldId="2147483708"/>
              <ac:spMk id="40" creationId="{ADEA2142-C3EB-4B4B-8A3F-E3E3405EC255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1825413448" sldId="2147483708"/>
              <ac:spMk id="41" creationId="{A603A4BA-6E2E-4CF8-A9C1-56CA2A61F66D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1825413448" sldId="2147483708"/>
              <ac:spMk id="42" creationId="{04AB8FE5-43ED-417F-A85D-3B4E3EE7FFC8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1825413448" sldId="2147483708"/>
              <ac:spMk id="43" creationId="{02EC7F72-B128-4A31-9706-2CE5A812ECEB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1825413448" sldId="2147483708"/>
              <ac:spMk id="44" creationId="{E193B3B2-1272-488A-BED4-E353852F7F29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1825413448" sldId="2147483708"/>
              <ac:spMk id="45" creationId="{AFDD4972-28BD-4ACC-A610-2B9D2FF66303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1825413448" sldId="2147483708"/>
              <ac:spMk id="46" creationId="{879D26E3-1002-4D81-8125-D744F28D1DC9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1825413448" sldId="2147483708"/>
              <ac:spMk id="47" creationId="{EB31DBEC-D4BD-49F0-9F93-CD7EC04C02B8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1825413448" sldId="2147483708"/>
              <ac:spMk id="48" creationId="{C5AF0345-AF9A-4576-937E-9A48C5DF3F9D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1825413448" sldId="2147483708"/>
              <ac:spMk id="49" creationId="{A4C58047-8A78-4DE6-897E-62DD6F7B21E2}"/>
            </ac:spMkLst>
          </pc:sp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648"/>
              <pc:sldLayoutMk cId="1825413448" sldId="2147483708"/>
              <ac:cxnSpMk id="23" creationId="{4A221687-D626-4256-836D-BB2DB4E4C8D2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648"/>
              <pc:sldLayoutMk cId="1825413448" sldId="2147483708"/>
              <ac:cxnSpMk id="24" creationId="{D2BB49BF-B9D5-40A1-8273-C74341C43FD2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648"/>
              <pc:sldLayoutMk cId="1825413448" sldId="2147483708"/>
              <ac:cxnSpMk id="27" creationId="{CC10E838-BAD7-4EDD-A77F-DB90AB1841A0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648"/>
              <pc:sldLayoutMk cId="1825413448" sldId="2147483708"/>
              <ac:cxnSpMk id="29" creationId="{AA40F94A-62C8-4F9A-92A7-51D76316671A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648"/>
              <pc:sldLayoutMk cId="1825413448" sldId="2147483708"/>
              <ac:cxnSpMk id="30" creationId="{76CCF92E-B71D-48EE-B104-AACD202106FE}"/>
            </ac:cxnSpMkLst>
          </pc:cxn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648"/>
            <pc:sldLayoutMk cId="4072754290" sldId="2147483709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4072754290" sldId="2147483709"/>
              <ac:spMk id="1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4072754290" sldId="2147483709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4072754290" sldId="2147483709"/>
              <ac:spMk id="1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4072754290" sldId="2147483709"/>
              <ac:spMk id="1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4072754290" sldId="2147483709"/>
              <ac:spMk id="19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4072754290" sldId="2147483709"/>
              <ac:spMk id="2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4072754290" sldId="2147483709"/>
              <ac:spMk id="2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4072754290" sldId="2147483709"/>
              <ac:spMk id="2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4072754290" sldId="2147483709"/>
              <ac:spMk id="2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4072754290" sldId="2147483709"/>
              <ac:spMk id="2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4072754290" sldId="2147483709"/>
              <ac:spMk id="29" creationId="{00000000-0000-0000-0000-000000000000}"/>
            </ac:spMkLst>
          </pc:sp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648"/>
            <pc:sldLayoutMk cId="3844626349" sldId="2147483710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3844626349" sldId="2147483710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3844626349" sldId="2147483710"/>
              <ac:spMk id="1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3844626349" sldId="2147483710"/>
              <ac:spMk id="2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3844626349" sldId="2147483710"/>
              <ac:spMk id="24" creationId="{6461358B-0A56-4569-A5C6-0B3A384E1B29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3844626349" sldId="2147483710"/>
              <ac:spMk id="25" creationId="{82DCD752-E36E-4B6F-9492-DB43B3AD23A9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3844626349" sldId="2147483710"/>
              <ac:spMk id="28" creationId="{0911885B-EC22-4174-B624-763C970801E9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3844626349" sldId="2147483710"/>
              <ac:spMk id="29" creationId="{64CBDD6D-6A64-4C13-A8BF-708ACDF26FCF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3844626349" sldId="2147483710"/>
              <ac:spMk id="3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3844626349" sldId="2147483710"/>
              <ac:spMk id="3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3844626349" sldId="2147483710"/>
              <ac:spMk id="38" creationId="{9215AAFC-F401-4370-AAFA-8CB4479E81F5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3844626349" sldId="2147483710"/>
              <ac:spMk id="39" creationId="{D243CD9A-9DB5-43E4-80C8-DD3C61B6C49B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3844626349" sldId="2147483710"/>
              <ac:spMk id="40" creationId="{EFB833CD-7047-48B5-B38E-34378C2129BE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3844626349" sldId="2147483710"/>
              <ac:spMk id="41" creationId="{BC07EC88-3436-4A00-98F5-F3DE92CB02D8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3844626349" sldId="2147483710"/>
              <ac:spMk id="42" creationId="{3B2E441E-586A-43DA-8622-6D39268C55B6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3844626349" sldId="2147483710"/>
              <ac:spMk id="43" creationId="{E3DB30A9-4F19-499B-BC4D-5B289868711D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3844626349" sldId="2147483710"/>
              <ac:spMk id="44" creationId="{E54568F8-BD6D-47CA-9A19-748CF5B4F866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3844626349" sldId="2147483710"/>
              <ac:spMk id="45" creationId="{93B1732B-28E5-420D-8BB8-EDCA288304C5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3844626349" sldId="2147483710"/>
              <ac:spMk id="46" creationId="{03B51F18-CCB7-4C76-9414-B6E1DFBC3F5C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3844626349" sldId="2147483710"/>
              <ac:spMk id="47" creationId="{CD96DEC2-60B0-48F5-81BD-520BC86D1121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3844626349" sldId="2147483710"/>
              <ac:spMk id="48" creationId="{07F2E51D-7F11-4C92-83D1-378E1DE08DBD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3844626349" sldId="2147483710"/>
              <ac:spMk id="49" creationId="{CCBACA1B-E6C4-4604-95F9-19CEBA51DBA0}"/>
            </ac:spMkLst>
          </pc:sp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648"/>
            <pc:sldLayoutMk cId="731766671" sldId="2147483711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731766671" sldId="2147483711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731766671" sldId="2147483711"/>
              <ac:spMk id="2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731766671" sldId="2147483711"/>
              <ac:spMk id="35" creationId="{79919CA6-A61D-47E8-96DD-BD3FE3E921AF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731766671" sldId="2147483711"/>
              <ac:spMk id="3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731766671" sldId="2147483711"/>
              <ac:spMk id="3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731766671" sldId="2147483711"/>
              <ac:spMk id="40" creationId="{2A50CB42-8DC1-442A-A406-ACC4FEE70045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731766671" sldId="2147483711"/>
              <ac:spMk id="41" creationId="{3933BB7B-4546-47F2-BC22-44F25FBFA3C3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731766671" sldId="2147483711"/>
              <ac:spMk id="42" creationId="{0E635663-D3FF-40C2-BA51-CD6B6D583BE1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731766671" sldId="2147483711"/>
              <ac:spMk id="43" creationId="{A58C367D-FC47-48AF-AA4E-57BAFAFCD109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731766671" sldId="2147483711"/>
              <ac:spMk id="44" creationId="{99E5482B-8E61-4C0E-9FB4-A6272760A3DD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731766671" sldId="2147483711"/>
              <ac:spMk id="45" creationId="{79E56E79-1472-4852-9BBE-102A536C8828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731766671" sldId="2147483711"/>
              <ac:spMk id="46" creationId="{7C3C4FAF-C595-41E6-B18F-617046792626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731766671" sldId="2147483711"/>
              <ac:spMk id="47" creationId="{6598A32A-181B-4903-8307-9B3E17A5E16B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731766671" sldId="2147483711"/>
              <ac:spMk id="48" creationId="{8570484C-87D1-41A4-825F-F77893D93481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731766671" sldId="2147483711"/>
              <ac:spMk id="49" creationId="{91396965-3136-48C7-B6A4-C6EBA1D0E2BE}"/>
            </ac:spMkLst>
          </pc:sp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648"/>
              <pc:sldLayoutMk cId="731766671" sldId="2147483711"/>
              <ac:cxnSpMk id="23" creationId="{160D7922-6446-4990-8730-D8CA9141ACDF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648"/>
              <pc:sldLayoutMk cId="731766671" sldId="2147483711"/>
              <ac:cxnSpMk id="24" creationId="{EECBB287-BD1A-4BF7-B937-349728A34109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648"/>
              <pc:sldLayoutMk cId="731766671" sldId="2147483711"/>
              <ac:cxnSpMk id="27" creationId="{B4AC0697-6C88-4A97-A6C1-F2079FB70476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648"/>
              <pc:sldLayoutMk cId="731766671" sldId="2147483711"/>
              <ac:cxnSpMk id="29" creationId="{EFC7C871-9F03-4E03-9071-BD6D444CD731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648"/>
              <pc:sldLayoutMk cId="731766671" sldId="2147483711"/>
              <ac:cxnSpMk id="30" creationId="{0DF53256-4F91-49B5-A0EB-F5682664B991}"/>
            </ac:cxnSpMkLst>
          </pc:cxn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648"/>
            <pc:sldLayoutMk cId="2342783591" sldId="2147483712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2342783591" sldId="2147483712"/>
              <ac:spMk id="9" creationId="{8C7CC470-FD02-4062-811D-BCC9F9FAD4C3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2342783591" sldId="2147483712"/>
              <ac:spMk id="1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2342783591" sldId="2147483712"/>
              <ac:spMk id="1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2342783591" sldId="2147483712"/>
              <ac:spMk id="14" creationId="{00000000-0000-0000-0000-000000000000}"/>
            </ac:spMkLst>
          </pc:sp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0" sldId="2147483648"/>
              <pc:sldLayoutMk cId="2342783591" sldId="2147483712"/>
              <ac:picMk id="8" creationId="{7553FA81-B58C-4618-8A3E-7858C1F01FBA}"/>
            </ac:picMkLst>
          </pc:pic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0" sldId="2147483648"/>
              <pc:sldLayoutMk cId="2342783591" sldId="2147483712"/>
              <ac:picMk id="16" creationId="{00000000-0000-0000-0000-000000000000}"/>
            </ac:picMkLst>
          </pc:pic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648"/>
            <pc:sldLayoutMk cId="1144610768" sldId="2147483713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1144610768" sldId="2147483713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1144610768" sldId="2147483713"/>
              <ac:spMk id="20" creationId="{B7A21CA5-0207-4C3E-90C3-7DD273116005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1144610768" sldId="2147483713"/>
              <ac:spMk id="2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1144610768" sldId="2147483713"/>
              <ac:spMk id="23" creationId="{B29715FA-9373-4C2C-8517-F717D2F31AA4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1144610768" sldId="2147483713"/>
              <ac:spMk id="25" creationId="{3A34D903-599D-47A5-A3ED-92C29861F182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1144610768" sldId="2147483713"/>
              <ac:spMk id="26" creationId="{79AE7131-36C2-4915-B47D-39BCF2AFBFDF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1144610768" sldId="2147483713"/>
              <ac:spMk id="28" creationId="{A9F7F641-6BFC-43B6-9AEF-C2C12ADF3004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1144610768" sldId="2147483713"/>
              <ac:spMk id="31" creationId="{D2A5695B-167E-499E-9CE4-3D5C49DD2203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1144610768" sldId="2147483713"/>
              <ac:spMk id="34" creationId="{3D24B1E6-9AFF-4E70-B28D-D4BB959630D3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1144610768" sldId="2147483713"/>
              <ac:spMk id="3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1144610768" sldId="2147483713"/>
              <ac:spMk id="3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1144610768" sldId="2147483713"/>
              <ac:spMk id="38" creationId="{E3CCCCB0-701A-4E5E-8A97-9E8D2798E2C8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1144610768" sldId="2147483713"/>
              <ac:spMk id="39" creationId="{5E846E63-F106-4297-A998-2AF6259FC610}"/>
            </ac:spMkLst>
          </pc:sp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648"/>
              <pc:sldLayoutMk cId="1144610768" sldId="2147483713"/>
              <ac:cxnSpMk id="19" creationId="{7EDAC262-0923-462D-B3AA-5EBE99CC44FE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648"/>
              <pc:sldLayoutMk cId="1144610768" sldId="2147483713"/>
              <ac:cxnSpMk id="21" creationId="{5FF5AADA-ABA9-4C87-A162-8DD1F42FEB11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648"/>
              <pc:sldLayoutMk cId="1144610768" sldId="2147483713"/>
              <ac:cxnSpMk id="32" creationId="{F392363A-3157-4C92-A595-89064DE954EE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648"/>
              <pc:sldLayoutMk cId="1144610768" sldId="2147483713"/>
              <ac:cxnSpMk id="33" creationId="{D66A6A32-0372-4B11-8BD1-F89FBA43F61A}"/>
            </ac:cxnSpMkLst>
          </pc:cxn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648"/>
            <pc:sldLayoutMk cId="3573507931" sldId="2147483714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3573507931" sldId="2147483714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3573507931" sldId="2147483714"/>
              <ac:spMk id="2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3573507931" sldId="2147483714"/>
              <ac:spMk id="3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3573507931" sldId="2147483714"/>
              <ac:spMk id="37" creationId="{00000000-0000-0000-0000-000000000000}"/>
            </ac:spMkLst>
          </pc:sp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0" sldId="2147483648"/>
              <pc:sldLayoutMk cId="3573507931" sldId="2147483714"/>
              <ac:picMk id="7" creationId="{9FFD36EB-F48D-47DC-A4AE-5CFB11B7AE98}"/>
            </ac:picMkLst>
          </pc:pic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648"/>
            <pc:sldLayoutMk cId="2722654758" sldId="2147483715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2722654758" sldId="2147483715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2722654758" sldId="2147483715"/>
              <ac:spMk id="2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2722654758" sldId="2147483715"/>
              <ac:spMk id="3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2722654758" sldId="2147483715"/>
              <ac:spMk id="37" creationId="{00000000-0000-0000-0000-000000000000}"/>
            </ac:spMkLst>
          </pc:sp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0" sldId="2147483648"/>
              <pc:sldLayoutMk cId="2722654758" sldId="2147483715"/>
              <ac:picMk id="7" creationId="{3D15D99A-F3E4-48CF-BB41-F7AA5D5372F9}"/>
            </ac:picMkLst>
          </pc:picChg>
        </pc:sldLayoutChg>
        <pc:sldLayoutChg chg="del">
          <pc:chgData name="Virginie PONCET" userId="ebcd993a-a2ce-4546-82a8-b8fa2d7b77e1" providerId="ADAL" clId="{E5B7E8CE-123C-4CA0-9A8C-CD46EC48866B}" dt="2023-10-10T15:13:43.780" v="134" actId="47"/>
          <pc:sldLayoutMkLst>
            <pc:docMk/>
            <pc:sldMasterMk cId="0" sldId="2147483648"/>
            <pc:sldLayoutMk cId="2182212720" sldId="2147483718"/>
          </pc:sldLayoutMkLst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648"/>
            <pc:sldLayoutMk cId="3474374832" sldId="2147483721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3474374832" sldId="2147483721"/>
              <ac:spMk id="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3474374832" sldId="2147483721"/>
              <ac:spMk id="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3474374832" sldId="2147483721"/>
              <ac:spMk id="8" creationId="{F9C77E95-1BEC-4523-A069-97C9DE8E627B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3474374832" sldId="2147483721"/>
              <ac:spMk id="11" creationId="{00000000-0000-0000-0000-000000000000}"/>
            </ac:spMkLst>
          </pc:spChg>
          <pc:graphicFrameChg chg="mod">
            <ac:chgData name="Virginie PONCET" userId="ebcd993a-a2ce-4546-82a8-b8fa2d7b77e1" providerId="ADAL" clId="{E5B7E8CE-123C-4CA0-9A8C-CD46EC48866B}" dt="2023-10-20T07:04:55.744" v="695"/>
            <ac:graphicFrameMkLst>
              <pc:docMk/>
              <pc:sldMasterMk cId="0" sldId="2147483648"/>
              <pc:sldLayoutMk cId="3474374832" sldId="2147483721"/>
              <ac:graphicFrameMk id="3" creationId="{D722A583-BAD4-40F7-AE0C-4F40D42D9AA3}"/>
            </ac:graphicFrameMkLst>
          </pc:graphicFrame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648"/>
            <pc:sldLayoutMk cId="3176935049" sldId="2147483796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3176935049" sldId="2147483796"/>
              <ac:spMk id="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648"/>
              <pc:sldLayoutMk cId="3176935049" sldId="2147483796"/>
              <ac:spMk id="4" creationId="{00000000-0000-0000-0000-000000000000}"/>
            </ac:spMkLst>
          </pc:spChg>
        </pc:sldLayoutChg>
      </pc:sldMasterChg>
      <pc:sldMasterChg chg="modSp modSldLayout">
        <pc:chgData name="Virginie PONCET" userId="ebcd993a-a2ce-4546-82a8-b8fa2d7b77e1" providerId="ADAL" clId="{E5B7E8CE-123C-4CA0-9A8C-CD46EC48866B}" dt="2023-10-20T07:04:55.744" v="695"/>
        <pc:sldMasterMkLst>
          <pc:docMk/>
          <pc:sldMasterMk cId="0" sldId="2147483719"/>
        </pc:sldMasterMkLst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asterMk cId="0" sldId="2147483719"/>
            <ac:spMk id="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asterMk cId="0" sldId="2147483719"/>
            <ac:spMk id="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asterMk cId="0" sldId="2147483719"/>
            <ac:spMk id="8" creationId="{00000000-0000-0000-0000-000000000000}"/>
          </ac:spMkLst>
        </pc:spChg>
        <pc:picChg chg="mod">
          <ac:chgData name="Virginie PONCET" userId="ebcd993a-a2ce-4546-82a8-b8fa2d7b77e1" providerId="ADAL" clId="{E5B7E8CE-123C-4CA0-9A8C-CD46EC48866B}" dt="2023-10-20T07:04:55.744" v="695"/>
          <ac:picMkLst>
            <pc:docMk/>
            <pc:sldMasterMk cId="0" sldId="2147483719"/>
            <ac:picMk id="9" creationId="{00000000-0000-0000-0000-000000000000}"/>
          </ac:picMkLst>
        </pc:picChg>
        <pc:picChg chg="mod">
          <ac:chgData name="Virginie PONCET" userId="ebcd993a-a2ce-4546-82a8-b8fa2d7b77e1" providerId="ADAL" clId="{E5B7E8CE-123C-4CA0-9A8C-CD46EC48866B}" dt="2023-10-20T07:04:55.744" v="695"/>
          <ac:picMkLst>
            <pc:docMk/>
            <pc:sldMasterMk cId="0" sldId="2147483719"/>
            <ac:picMk id="11" creationId="{00000000-0000-0000-0000-000000000000}"/>
          </ac:picMkLst>
        </pc:picChg>
        <pc:cxnChg chg="mod">
          <ac:chgData name="Virginie PONCET" userId="ebcd993a-a2ce-4546-82a8-b8fa2d7b77e1" providerId="ADAL" clId="{E5B7E8CE-123C-4CA0-9A8C-CD46EC48866B}" dt="2023-10-20T07:04:55.744" v="695"/>
          <ac:cxnSpMkLst>
            <pc:docMk/>
            <pc:sldMasterMk cId="0" sldId="2147483719"/>
            <ac:cxnSpMk id="14" creationId="{00000000-0000-0000-0000-000000000000}"/>
          </ac:cxnSpMkLst>
        </pc:cxn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719"/>
            <pc:sldLayoutMk cId="1428033082" sldId="2147483663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428033082" sldId="2147483663"/>
              <ac:spMk id="3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428033082" sldId="2147483663"/>
              <ac:spMk id="3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428033082" sldId="2147483663"/>
              <ac:spMk id="41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428033082" sldId="2147483663"/>
              <ac:spMk id="4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428033082" sldId="2147483663"/>
              <ac:spMk id="4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428033082" sldId="2147483663"/>
              <ac:spMk id="4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428033082" sldId="2147483663"/>
              <ac:spMk id="4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428033082" sldId="2147483663"/>
              <ac:spMk id="4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428033082" sldId="2147483663"/>
              <ac:spMk id="4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428033082" sldId="2147483663"/>
              <ac:spMk id="48" creationId="{00000000-0000-0000-0000-000000000000}"/>
            </ac:spMkLst>
          </pc:sp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0" sldId="2147483719"/>
              <pc:sldLayoutMk cId="1428033082" sldId="2147483663"/>
              <ac:picMk id="52" creationId="{00000000-0000-0000-0000-000000000000}"/>
            </ac:picMkLst>
          </pc:pic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719"/>
            <pc:sldLayoutMk cId="3942659167" sldId="2147483664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3942659167" sldId="2147483664"/>
              <ac:spMk id="1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3942659167" sldId="2147483664"/>
              <ac:spMk id="1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3942659167" sldId="2147483664"/>
              <ac:spMk id="1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3942659167" sldId="2147483664"/>
              <ac:spMk id="1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3942659167" sldId="2147483664"/>
              <ac:spMk id="1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3942659167" sldId="2147483664"/>
              <ac:spMk id="1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3942659167" sldId="2147483664"/>
              <ac:spMk id="19" creationId="{00000000-0000-0000-0000-000000000000}"/>
            </ac:spMkLst>
          </pc:spChg>
          <pc:grpChg chg="mod">
            <ac:chgData name="Virginie PONCET" userId="ebcd993a-a2ce-4546-82a8-b8fa2d7b77e1" providerId="ADAL" clId="{E5B7E8CE-123C-4CA0-9A8C-CD46EC48866B}" dt="2023-10-20T07:04:55.744" v="695"/>
            <ac:grpSpMkLst>
              <pc:docMk/>
              <pc:sldMasterMk cId="0" sldId="2147483719"/>
              <pc:sldLayoutMk cId="3942659167" sldId="2147483664"/>
              <ac:grpSpMk id="11" creationId="{00000000-0000-0000-0000-000000000000}"/>
            </ac:grpSpMkLst>
          </pc:grp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0" sldId="2147483719"/>
              <pc:sldLayoutMk cId="3942659167" sldId="2147483664"/>
              <ac:picMk id="18" creationId="{00000000-0000-0000-0000-000000000000}"/>
            </ac:picMkLst>
          </pc:pic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719"/>
              <pc:sldLayoutMk cId="3942659167" sldId="2147483664"/>
              <ac:cxnSpMk id="21" creationId="{00000000-0000-0000-0000-000000000000}"/>
            </ac:cxnSpMkLst>
          </pc:cxn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719"/>
            <pc:sldLayoutMk cId="4219391455" sldId="2147483665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4219391455" sldId="2147483665"/>
              <ac:spMk id="1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4219391455" sldId="2147483665"/>
              <ac:spMk id="1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4219391455" sldId="2147483665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4219391455" sldId="2147483665"/>
              <ac:spMk id="1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4219391455" sldId="2147483665"/>
              <ac:spMk id="1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4219391455" sldId="2147483665"/>
              <ac:spMk id="1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4219391455" sldId="2147483665"/>
              <ac:spMk id="20" creationId="{00000000-0000-0000-0000-000000000000}"/>
            </ac:spMkLst>
          </pc:spChg>
          <pc:grpChg chg="mod">
            <ac:chgData name="Virginie PONCET" userId="ebcd993a-a2ce-4546-82a8-b8fa2d7b77e1" providerId="ADAL" clId="{E5B7E8CE-123C-4CA0-9A8C-CD46EC48866B}" dt="2023-10-20T07:04:55.744" v="695"/>
            <ac:grpSpMkLst>
              <pc:docMk/>
              <pc:sldMasterMk cId="0" sldId="2147483719"/>
              <pc:sldLayoutMk cId="4219391455" sldId="2147483665"/>
              <ac:grpSpMk id="12" creationId="{00000000-0000-0000-0000-000000000000}"/>
            </ac:grpSpMkLst>
          </pc:grp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0" sldId="2147483719"/>
              <pc:sldLayoutMk cId="4219391455" sldId="2147483665"/>
              <ac:picMk id="17" creationId="{00000000-0000-0000-0000-000000000000}"/>
            </ac:picMkLst>
          </pc:pic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719"/>
              <pc:sldLayoutMk cId="4219391455" sldId="2147483665"/>
              <ac:cxnSpMk id="19" creationId="{00000000-0000-0000-0000-000000000000}"/>
            </ac:cxnSpMkLst>
          </pc:cxn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719"/>
            <pc:sldLayoutMk cId="1619616855" sldId="2147483669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619616855" sldId="2147483669"/>
              <ac:spMk id="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619616855" sldId="2147483669"/>
              <ac:spMk id="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619616855" sldId="2147483669"/>
              <ac:spMk id="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619616855" sldId="2147483669"/>
              <ac:spMk id="1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619616855" sldId="2147483669"/>
              <ac:spMk id="11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619616855" sldId="2147483669"/>
              <ac:spMk id="12" creationId="{00000000-0000-0000-0000-000000000000}"/>
            </ac:spMkLst>
          </pc:sp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719"/>
            <pc:sldLayoutMk cId="4049993786" sldId="2147483670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4049993786" sldId="2147483670"/>
              <ac:spMk id="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4049993786" sldId="2147483670"/>
              <ac:spMk id="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4049993786" sldId="2147483670"/>
              <ac:spMk id="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4049993786" sldId="2147483670"/>
              <ac:spMk id="1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4049993786" sldId="2147483670"/>
              <ac:spMk id="11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4049993786" sldId="2147483670"/>
              <ac:spMk id="1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4049993786" sldId="2147483670"/>
              <ac:spMk id="13" creationId="{00000000-0000-0000-0000-000000000000}"/>
            </ac:spMkLst>
          </pc:sp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719"/>
              <pc:sldLayoutMk cId="4049993786" sldId="2147483670"/>
              <ac:cxnSpMk id="15" creationId="{00000000-0000-0000-0000-000000000000}"/>
            </ac:cxnSpMkLst>
          </pc:cxn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719"/>
            <pc:sldLayoutMk cId="539271068" sldId="2147483672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539271068" sldId="2147483672"/>
              <ac:spMk id="9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539271068" sldId="2147483672"/>
              <ac:spMk id="1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539271068" sldId="2147483672"/>
              <ac:spMk id="11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539271068" sldId="2147483672"/>
              <ac:spMk id="1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539271068" sldId="2147483672"/>
              <ac:spMk id="1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539271068" sldId="2147483672"/>
              <ac:spMk id="14" creationId="{00000000-0000-0000-0000-000000000000}"/>
            </ac:spMkLst>
          </pc:sp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719"/>
              <pc:sldLayoutMk cId="539271068" sldId="2147483672"/>
              <ac:cxnSpMk id="16" creationId="{00000000-0000-0000-0000-000000000000}"/>
            </ac:cxnSpMkLst>
          </pc:cxn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719"/>
            <pc:sldLayoutMk cId="1534593297" sldId="2147483675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534593297" sldId="2147483675"/>
              <ac:spMk id="1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534593297" sldId="2147483675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534593297" sldId="2147483675"/>
              <ac:spMk id="1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534593297" sldId="2147483675"/>
              <ac:spMk id="1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534593297" sldId="2147483675"/>
              <ac:spMk id="19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534593297" sldId="2147483675"/>
              <ac:spMk id="2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534593297" sldId="2147483675"/>
              <ac:spMk id="2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534593297" sldId="2147483675"/>
              <ac:spMk id="2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534593297" sldId="2147483675"/>
              <ac:spMk id="2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534593297" sldId="2147483675"/>
              <ac:spMk id="2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534593297" sldId="2147483675"/>
              <ac:spMk id="29" creationId="{00000000-0000-0000-0000-000000000000}"/>
            </ac:spMkLst>
          </pc:sp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719"/>
            <pc:sldLayoutMk cId="253870291" sldId="2147483677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253870291" sldId="2147483677"/>
              <ac:spMk id="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253870291" sldId="2147483677"/>
              <ac:spMk id="1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253870291" sldId="2147483677"/>
              <ac:spMk id="1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253870291" sldId="2147483677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253870291" sldId="2147483677"/>
              <ac:spMk id="1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253870291" sldId="2147483677"/>
              <ac:spMk id="1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253870291" sldId="2147483677"/>
              <ac:spMk id="1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253870291" sldId="2147483677"/>
              <ac:spMk id="19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253870291" sldId="2147483677"/>
              <ac:spMk id="2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253870291" sldId="2147483677"/>
              <ac:spMk id="21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253870291" sldId="2147483677"/>
              <ac:spMk id="2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253870291" sldId="2147483677"/>
              <ac:spMk id="3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253870291" sldId="2147483677"/>
              <ac:spMk id="3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253870291" sldId="2147483677"/>
              <ac:spMk id="5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253870291" sldId="2147483677"/>
              <ac:spMk id="5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253870291" sldId="2147483677"/>
              <ac:spMk id="5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253870291" sldId="2147483677"/>
              <ac:spMk id="5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253870291" sldId="2147483677"/>
              <ac:spMk id="5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253870291" sldId="2147483677"/>
              <ac:spMk id="5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253870291" sldId="2147483677"/>
              <ac:spMk id="5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253870291" sldId="2147483677"/>
              <ac:spMk id="58" creationId="{00000000-0000-0000-0000-000000000000}"/>
            </ac:spMkLst>
          </pc:sp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719"/>
            <pc:sldLayoutMk cId="1231994420" sldId="2147483678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231994420" sldId="2147483678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231994420" sldId="2147483678"/>
              <ac:spMk id="1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231994420" sldId="2147483678"/>
              <ac:spMk id="2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231994420" sldId="2147483678"/>
              <ac:spMk id="2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231994420" sldId="2147483678"/>
              <ac:spMk id="2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231994420" sldId="2147483678"/>
              <ac:spMk id="2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231994420" sldId="2147483678"/>
              <ac:spMk id="29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231994420" sldId="2147483678"/>
              <ac:spMk id="3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231994420" sldId="2147483678"/>
              <ac:spMk id="3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231994420" sldId="2147483678"/>
              <ac:spMk id="3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231994420" sldId="2147483678"/>
              <ac:spMk id="39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231994420" sldId="2147483678"/>
              <ac:spMk id="4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231994420" sldId="2147483678"/>
              <ac:spMk id="41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231994420" sldId="2147483678"/>
              <ac:spMk id="5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231994420" sldId="2147483678"/>
              <ac:spMk id="51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231994420" sldId="2147483678"/>
              <ac:spMk id="5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231994420" sldId="2147483678"/>
              <ac:spMk id="5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231994420" sldId="2147483678"/>
              <ac:spMk id="5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231994420" sldId="2147483678"/>
              <ac:spMk id="5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231994420" sldId="2147483678"/>
              <ac:spMk id="5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231994420" sldId="2147483678"/>
              <ac:spMk id="57" creationId="{00000000-0000-0000-0000-000000000000}"/>
            </ac:spMkLst>
          </pc:sp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719"/>
            <pc:sldLayoutMk cId="1839875260" sldId="2147483679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839875260" sldId="2147483679"/>
              <ac:spMk id="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839875260" sldId="2147483679"/>
              <ac:spMk id="1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839875260" sldId="2147483679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839875260" sldId="2147483679"/>
              <ac:spMk id="1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839875260" sldId="2147483679"/>
              <ac:spMk id="19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839875260" sldId="2147483679"/>
              <ac:spMk id="2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839875260" sldId="2147483679"/>
              <ac:spMk id="2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839875260" sldId="2147483679"/>
              <ac:spMk id="2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839875260" sldId="2147483679"/>
              <ac:spMk id="2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839875260" sldId="2147483679"/>
              <ac:spMk id="2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839875260" sldId="2147483679"/>
              <ac:spMk id="3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839875260" sldId="2147483679"/>
              <ac:spMk id="3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839875260" sldId="2147483679"/>
              <ac:spMk id="3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839875260" sldId="2147483679"/>
              <ac:spMk id="3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839875260" sldId="2147483679"/>
              <ac:spMk id="40" creationId="{00000000-0000-0000-0000-000000000000}"/>
            </ac:spMkLst>
          </pc:sp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719"/>
              <pc:sldLayoutMk cId="1839875260" sldId="2147483679"/>
              <ac:cxnSpMk id="4" creationId="{00000000-0000-0000-0000-000000000000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719"/>
              <pc:sldLayoutMk cId="1839875260" sldId="2147483679"/>
              <ac:cxnSpMk id="25" creationId="{00000000-0000-0000-0000-000000000000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719"/>
              <pc:sldLayoutMk cId="1839875260" sldId="2147483679"/>
              <ac:cxnSpMk id="28" creationId="{00000000-0000-0000-0000-000000000000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719"/>
              <pc:sldLayoutMk cId="1839875260" sldId="2147483679"/>
              <ac:cxnSpMk id="38" creationId="{00000000-0000-0000-0000-000000000000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719"/>
              <pc:sldLayoutMk cId="1839875260" sldId="2147483679"/>
              <ac:cxnSpMk id="39" creationId="{00000000-0000-0000-0000-000000000000}"/>
            </ac:cxnSpMkLst>
          </pc:cxn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719"/>
            <pc:sldLayoutMk cId="4204355829" sldId="2147483680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4204355829" sldId="2147483680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4204355829" sldId="2147483680"/>
              <ac:spMk id="2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4204355829" sldId="2147483680"/>
              <ac:spMk id="3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4204355829" sldId="2147483680"/>
              <ac:spMk id="3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4204355829" sldId="2147483680"/>
              <ac:spMk id="3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4204355829" sldId="2147483680"/>
              <ac:spMk id="4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4204355829" sldId="2147483680"/>
              <ac:spMk id="41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4204355829" sldId="2147483680"/>
              <ac:spMk id="4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4204355829" sldId="2147483680"/>
              <ac:spMk id="4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4204355829" sldId="2147483680"/>
              <ac:spMk id="4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4204355829" sldId="2147483680"/>
              <ac:spMk id="4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4204355829" sldId="2147483680"/>
              <ac:spMk id="4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4204355829" sldId="2147483680"/>
              <ac:spMk id="4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4204355829" sldId="2147483680"/>
              <ac:spMk id="4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4204355829" sldId="2147483680"/>
              <ac:spMk id="49" creationId="{00000000-0000-0000-0000-000000000000}"/>
            </ac:spMkLst>
          </pc:sp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719"/>
              <pc:sldLayoutMk cId="4204355829" sldId="2147483680"/>
              <ac:cxnSpMk id="23" creationId="{00000000-0000-0000-0000-000000000000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719"/>
              <pc:sldLayoutMk cId="4204355829" sldId="2147483680"/>
              <ac:cxnSpMk id="24" creationId="{00000000-0000-0000-0000-000000000000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719"/>
              <pc:sldLayoutMk cId="4204355829" sldId="2147483680"/>
              <ac:cxnSpMk id="27" creationId="{00000000-0000-0000-0000-000000000000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719"/>
              <pc:sldLayoutMk cId="4204355829" sldId="2147483680"/>
              <ac:cxnSpMk id="29" creationId="{00000000-0000-0000-0000-000000000000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719"/>
              <pc:sldLayoutMk cId="4204355829" sldId="2147483680"/>
              <ac:cxnSpMk id="30" creationId="{00000000-0000-0000-0000-000000000000}"/>
            </ac:cxnSpMkLst>
          </pc:cxn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719"/>
            <pc:sldLayoutMk cId="2210876977" sldId="2147483681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2210876977" sldId="2147483681"/>
              <ac:spMk id="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2210876977" sldId="2147483681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2210876977" sldId="2147483681"/>
              <ac:spMk id="2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2210876977" sldId="2147483681"/>
              <ac:spMk id="2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2210876977" sldId="2147483681"/>
              <ac:spMk id="29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2210876977" sldId="2147483681"/>
              <ac:spMk id="3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2210876977" sldId="2147483681"/>
              <ac:spMk id="3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2210876977" sldId="2147483681"/>
              <ac:spMk id="3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2210876977" sldId="2147483681"/>
              <ac:spMk id="3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2210876977" sldId="2147483681"/>
              <ac:spMk id="4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2210876977" sldId="2147483681"/>
              <ac:spMk id="4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2210876977" sldId="2147483681"/>
              <ac:spMk id="4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2210876977" sldId="2147483681"/>
              <ac:spMk id="45" creationId="{00000000-0000-0000-0000-000000000000}"/>
            </ac:spMkLst>
          </pc:sp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719"/>
              <pc:sldLayoutMk cId="2210876977" sldId="2147483681"/>
              <ac:cxnSpMk id="4" creationId="{00000000-0000-0000-0000-000000000000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719"/>
              <pc:sldLayoutMk cId="2210876977" sldId="2147483681"/>
              <ac:cxnSpMk id="24" creationId="{00000000-0000-0000-0000-000000000000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719"/>
              <pc:sldLayoutMk cId="2210876977" sldId="2147483681"/>
              <ac:cxnSpMk id="41" creationId="{00000000-0000-0000-0000-000000000000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719"/>
              <pc:sldLayoutMk cId="2210876977" sldId="2147483681"/>
              <ac:cxnSpMk id="42" creationId="{00000000-0000-0000-0000-000000000000}"/>
            </ac:cxnSpMkLst>
          </pc:cxn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719"/>
            <pc:sldLayoutMk cId="25583666" sldId="2147483682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25583666" sldId="2147483682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25583666" sldId="2147483682"/>
              <ac:spMk id="2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25583666" sldId="2147483682"/>
              <ac:spMk id="3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25583666" sldId="2147483682"/>
              <ac:spMk id="37" creationId="{00000000-0000-0000-0000-000000000000}"/>
            </ac:spMkLst>
          </pc:sp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0" sldId="2147483719"/>
              <pc:sldLayoutMk cId="25583666" sldId="2147483682"/>
              <ac:picMk id="3" creationId="{00000000-0000-0000-0000-000000000000}"/>
            </ac:picMkLst>
          </pc:pic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719"/>
            <pc:sldLayoutMk cId="713409939" sldId="2147483683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713409939" sldId="2147483683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713409939" sldId="2147483683"/>
              <ac:spMk id="2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713409939" sldId="2147483683"/>
              <ac:spMk id="3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713409939" sldId="2147483683"/>
              <ac:spMk id="37" creationId="{00000000-0000-0000-0000-000000000000}"/>
            </ac:spMkLst>
          </pc:sp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0" sldId="2147483719"/>
              <pc:sldLayoutMk cId="713409939" sldId="2147483683"/>
              <ac:picMk id="2" creationId="{00000000-0000-0000-0000-000000000000}"/>
            </ac:picMkLst>
          </pc:pic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719"/>
            <pc:sldLayoutMk cId="3896867069" sldId="2147483684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3896867069" sldId="2147483684"/>
              <ac:spMk id="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3896867069" sldId="2147483684"/>
              <ac:spMk id="8" creationId="{00000000-0000-0000-0000-000000000000}"/>
            </ac:spMkLst>
          </pc:sp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0" sldId="2147483719"/>
              <pc:sldLayoutMk cId="3896867069" sldId="2147483684"/>
              <ac:picMk id="5" creationId="{00000000-0000-0000-0000-000000000000}"/>
            </ac:picMkLst>
          </pc:pic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719"/>
            <pc:sldLayoutMk cId="1071636659" sldId="2147483685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071636659" sldId="2147483685"/>
              <ac:spMk id="3" creationId="{00000000-0000-0000-0000-000000000000}"/>
            </ac:spMkLst>
          </pc:sp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0" sldId="2147483719"/>
              <pc:sldLayoutMk cId="1071636659" sldId="2147483685"/>
              <ac:picMk id="10" creationId="{00000000-0000-0000-0000-000000000000}"/>
            </ac:picMkLst>
          </pc:pic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719"/>
            <pc:sldLayoutMk cId="963254220" sldId="2147483686"/>
          </pc:sldLayoutMkLst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0" sldId="2147483719"/>
              <pc:sldLayoutMk cId="963254220" sldId="2147483686"/>
              <ac:picMk id="6" creationId="{00000000-0000-0000-0000-000000000000}"/>
            </ac:picMkLst>
          </pc:pic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719"/>
            <pc:sldLayoutMk cId="0" sldId="2147483720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0" sldId="2147483720"/>
              <ac:spMk id="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0" sldId="2147483720"/>
              <ac:spMk id="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0" sldId="2147483720"/>
              <ac:spMk id="1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0" sldId="2147483720"/>
              <ac:spMk id="11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0" sldId="2147483720"/>
              <ac:spMk id="12" creationId="{00000000-0000-0000-0000-000000000000}"/>
            </ac:spMkLst>
          </pc:sp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719"/>
            <pc:sldLayoutMk cId="2637598553" sldId="2147483752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2637598553" sldId="2147483752"/>
              <ac:spMk id="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2637598553" sldId="2147483752"/>
              <ac:spMk id="1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2637598553" sldId="2147483752"/>
              <ac:spMk id="1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2637598553" sldId="2147483752"/>
              <ac:spMk id="14" creationId="{00000000-0000-0000-0000-000000000000}"/>
            </ac:spMkLst>
          </pc:sp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0" sldId="2147483719"/>
              <pc:sldLayoutMk cId="2637598553" sldId="2147483752"/>
              <ac:picMk id="16" creationId="{00000000-0000-0000-0000-000000000000}"/>
            </ac:picMkLst>
          </pc:pic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719"/>
            <pc:sldLayoutMk cId="3523817825" sldId="2147483753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3523817825" sldId="2147483753"/>
              <ac:spMk id="3" creationId="{00000000-0000-0000-0000-000000000000}"/>
            </ac:spMkLst>
          </pc:sp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719"/>
            <pc:sldLayoutMk cId="2458386468" sldId="2147483754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2458386468" sldId="2147483754"/>
              <ac:spMk id="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2458386468" sldId="2147483754"/>
              <ac:spMk id="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2458386468" sldId="2147483754"/>
              <ac:spMk id="1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2458386468" sldId="2147483754"/>
              <ac:spMk id="11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2458386468" sldId="2147483754"/>
              <ac:spMk id="12" creationId="{00000000-0000-0000-0000-000000000000}"/>
            </ac:spMkLst>
          </pc:sp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719"/>
            <pc:sldLayoutMk cId="1924702481" sldId="2147483756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924702481" sldId="2147483756"/>
              <ac:spMk id="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924702481" sldId="2147483756"/>
              <ac:spMk id="1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924702481" sldId="2147483756"/>
              <ac:spMk id="1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924702481" sldId="2147483756"/>
              <ac:spMk id="14" creationId="{00000000-0000-0000-0000-000000000000}"/>
            </ac:spMkLst>
          </pc:sp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719"/>
            <pc:sldLayoutMk cId="3538569769" sldId="2147483763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3538569769" sldId="2147483763"/>
              <ac:spMk id="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3538569769" sldId="2147483763"/>
              <ac:spMk id="1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3538569769" sldId="2147483763"/>
              <ac:spMk id="1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3538569769" sldId="2147483763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3538569769" sldId="2147483763"/>
              <ac:spMk id="1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3538569769" sldId="2147483763"/>
              <ac:spMk id="18" creationId="{00000000-0000-0000-0000-000000000000}"/>
            </ac:spMkLst>
          </pc:sp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719"/>
            <pc:sldLayoutMk cId="1438041211" sldId="2147483764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438041211" sldId="2147483764"/>
              <ac:spMk id="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438041211" sldId="2147483764"/>
              <ac:spMk id="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438041211" sldId="2147483764"/>
              <ac:spMk id="1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438041211" sldId="2147483764"/>
              <ac:spMk id="11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438041211" sldId="2147483764"/>
              <ac:spMk id="1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438041211" sldId="2147483764"/>
              <ac:spMk id="1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438041211" sldId="2147483764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438041211" sldId="2147483764"/>
              <ac:spMk id="17" creationId="{00000000-0000-0000-0000-000000000000}"/>
            </ac:spMkLst>
          </pc:sp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719"/>
              <pc:sldLayoutMk cId="1438041211" sldId="2147483764"/>
              <ac:cxnSpMk id="15" creationId="{00000000-0000-0000-0000-000000000000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719"/>
              <pc:sldLayoutMk cId="1438041211" sldId="2147483764"/>
              <ac:cxnSpMk id="16" creationId="{00000000-0000-0000-0000-000000000000}"/>
            </ac:cxnSpMkLst>
          </pc:cxn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719"/>
            <pc:sldLayoutMk cId="1465287913" sldId="2147483773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465287913" sldId="2147483773"/>
              <ac:spMk id="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465287913" sldId="2147483773"/>
              <ac:spMk id="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465287913" sldId="2147483773"/>
              <ac:spMk id="1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465287913" sldId="2147483773"/>
              <ac:spMk id="11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465287913" sldId="2147483773"/>
              <ac:spMk id="1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1465287913" sldId="2147483773"/>
              <ac:spMk id="15" creationId="{00000000-0000-0000-0000-000000000000}"/>
            </ac:spMkLst>
          </pc:sp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719"/>
            <pc:sldLayoutMk cId="376095798" sldId="2147483774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376095798" sldId="2147483774"/>
              <ac:spMk id="1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376095798" sldId="2147483774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376095798" sldId="2147483774"/>
              <ac:spMk id="1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376095798" sldId="2147483774"/>
              <ac:spMk id="1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376095798" sldId="2147483774"/>
              <ac:spMk id="19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376095798" sldId="2147483774"/>
              <ac:spMk id="2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376095798" sldId="2147483774"/>
              <ac:spMk id="2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376095798" sldId="2147483774"/>
              <ac:spMk id="2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376095798" sldId="2147483774"/>
              <ac:spMk id="2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376095798" sldId="2147483774"/>
              <ac:spMk id="2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376095798" sldId="2147483774"/>
              <ac:spMk id="29" creationId="{00000000-0000-0000-0000-000000000000}"/>
            </ac:spMkLst>
          </pc:sp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719"/>
            <pc:sldLayoutMk cId="3203796131" sldId="2147483775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3203796131" sldId="2147483775"/>
              <ac:spMk id="2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3203796131" sldId="2147483775"/>
              <ac:spMk id="2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19"/>
              <pc:sldLayoutMk cId="3203796131" sldId="2147483775"/>
              <ac:spMk id="29" creationId="{00000000-0000-0000-0000-000000000000}"/>
            </ac:spMkLst>
          </pc:sp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0" sldId="2147483719"/>
              <pc:sldLayoutMk cId="3203796131" sldId="2147483775"/>
              <ac:picMk id="9" creationId="{00000000-0000-0000-0000-000000000000}"/>
            </ac:picMkLst>
          </pc:pic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0" sldId="2147483719"/>
              <pc:sldLayoutMk cId="3203796131" sldId="2147483775"/>
              <ac:picMk id="15" creationId="{00000000-0000-0000-0000-000000000000}"/>
            </ac:picMkLst>
          </pc:pic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0" sldId="2147483719"/>
              <pc:sldLayoutMk cId="3203796131" sldId="2147483775"/>
              <ac:picMk id="16" creationId="{00000000-0000-0000-0000-000000000000}"/>
            </ac:picMkLst>
          </pc:pic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0" sldId="2147483719"/>
              <pc:sldLayoutMk cId="3203796131" sldId="2147483775"/>
              <ac:picMk id="17" creationId="{00000000-0000-0000-0000-000000000000}"/>
            </ac:picMkLst>
          </pc:picChg>
        </pc:sldLayoutChg>
      </pc:sldMasterChg>
      <pc:sldMasterChg chg="modSp modSldLayout">
        <pc:chgData name="Virginie PONCET" userId="ebcd993a-a2ce-4546-82a8-b8fa2d7b77e1" providerId="ADAL" clId="{E5B7E8CE-123C-4CA0-9A8C-CD46EC48866B}" dt="2023-10-20T07:04:55.744" v="695"/>
        <pc:sldMasterMkLst>
          <pc:docMk/>
          <pc:sldMasterMk cId="0" sldId="2147483776"/>
        </pc:sldMasterMkLst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asterMk cId="0" sldId="2147483776"/>
            <ac:spMk id="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asterMk cId="0" sldId="2147483776"/>
            <ac:spMk id="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asterMk cId="0" sldId="2147483776"/>
            <ac:spMk id="8" creationId="{00000000-0000-0000-0000-000000000000}"/>
          </ac:spMkLst>
        </pc:spChg>
        <pc:picChg chg="mod">
          <ac:chgData name="Virginie PONCET" userId="ebcd993a-a2ce-4546-82a8-b8fa2d7b77e1" providerId="ADAL" clId="{E5B7E8CE-123C-4CA0-9A8C-CD46EC48866B}" dt="2023-10-20T07:04:55.744" v="695"/>
          <ac:picMkLst>
            <pc:docMk/>
            <pc:sldMasterMk cId="0" sldId="2147483776"/>
            <ac:picMk id="11" creationId="{00000000-0000-0000-0000-000000000000}"/>
          </ac:picMkLst>
        </pc:picChg>
        <pc:picChg chg="mod">
          <ac:chgData name="Virginie PONCET" userId="ebcd993a-a2ce-4546-82a8-b8fa2d7b77e1" providerId="ADAL" clId="{E5B7E8CE-123C-4CA0-9A8C-CD46EC48866B}" dt="2023-10-20T07:04:55.744" v="695"/>
          <ac:picMkLst>
            <pc:docMk/>
            <pc:sldMasterMk cId="0" sldId="2147483776"/>
            <ac:picMk id="15" creationId="{FE0E973C-DF6D-4C7F-8FD0-D95F5512609E}"/>
          </ac:picMkLst>
        </pc:picChg>
        <pc:cxnChg chg="mod">
          <ac:chgData name="Virginie PONCET" userId="ebcd993a-a2ce-4546-82a8-b8fa2d7b77e1" providerId="ADAL" clId="{E5B7E8CE-123C-4CA0-9A8C-CD46EC48866B}" dt="2023-10-20T07:04:55.744" v="695"/>
          <ac:cxnSpMkLst>
            <pc:docMk/>
            <pc:sldMasterMk cId="0" sldId="2147483776"/>
            <ac:cxnSpMk id="14" creationId="{00000000-0000-0000-0000-000000000000}"/>
          </ac:cxnSpMkLst>
        </pc:cxn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776"/>
            <pc:sldLayoutMk cId="0" sldId="2147483740"/>
          </pc:sldLayoutMkLst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0" sldId="2147483776"/>
              <pc:sldLayoutMk cId="0" sldId="2147483740"/>
              <ac:picMk id="3" creationId="{956F82A1-0ED8-4448-9D28-4AF15D4C6555}"/>
            </ac:picMkLst>
          </pc:pic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776"/>
            <pc:sldLayoutMk cId="0" sldId="2147483741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41"/>
              <ac:spMk id="18" creationId="{3557324A-C482-467A-92D5-21BA49158CF1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41"/>
              <ac:spMk id="3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41"/>
              <ac:spMk id="3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41"/>
              <ac:spMk id="41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41"/>
              <ac:spMk id="4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41"/>
              <ac:spMk id="4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41"/>
              <ac:spMk id="4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41"/>
              <ac:spMk id="4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41"/>
              <ac:spMk id="4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41"/>
              <ac:spMk id="4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41"/>
              <ac:spMk id="48" creationId="{00000000-0000-0000-0000-000000000000}"/>
            </ac:spMkLst>
          </pc:sp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0" sldId="2147483776"/>
              <pc:sldLayoutMk cId="0" sldId="2147483741"/>
              <ac:picMk id="19" creationId="{8865262B-91EB-48B2-9935-5728FBE9AD2A}"/>
            </ac:picMkLst>
          </pc:pic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0" sldId="2147483776"/>
              <pc:sldLayoutMk cId="0" sldId="2147483741"/>
              <ac:picMk id="52" creationId="{00000000-0000-0000-0000-000000000000}"/>
            </ac:picMkLst>
          </pc:pic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776"/>
              <pc:sldLayoutMk cId="0" sldId="2147483741"/>
              <ac:cxnSpMk id="17" creationId="{BFBB2E75-397F-400C-95DF-D9667252FD7F}"/>
            </ac:cxnSpMkLst>
          </pc:cxn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776"/>
            <pc:sldLayoutMk cId="0" sldId="2147483742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42"/>
              <ac:spMk id="1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42"/>
              <ac:spMk id="1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42"/>
              <ac:spMk id="1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42"/>
              <ac:spMk id="1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42"/>
              <ac:spMk id="1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42"/>
              <ac:spMk id="1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42"/>
              <ac:spMk id="19" creationId="{00000000-0000-0000-0000-000000000000}"/>
            </ac:spMkLst>
          </pc:spChg>
          <pc:grpChg chg="mod">
            <ac:chgData name="Virginie PONCET" userId="ebcd993a-a2ce-4546-82a8-b8fa2d7b77e1" providerId="ADAL" clId="{E5B7E8CE-123C-4CA0-9A8C-CD46EC48866B}" dt="2023-10-20T07:04:55.744" v="695"/>
            <ac:grpSpMkLst>
              <pc:docMk/>
              <pc:sldMasterMk cId="0" sldId="2147483776"/>
              <pc:sldLayoutMk cId="0" sldId="2147483742"/>
              <ac:grpSpMk id="11" creationId="{00000000-0000-0000-0000-000000000000}"/>
            </ac:grpSpMkLst>
          </pc:grp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0" sldId="2147483776"/>
              <pc:sldLayoutMk cId="0" sldId="2147483742"/>
              <ac:picMk id="20" creationId="{8586D995-52E2-4F50-9D0E-CBB07450B704}"/>
            </ac:picMkLst>
          </pc:pic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776"/>
              <pc:sldLayoutMk cId="0" sldId="2147483742"/>
              <ac:cxnSpMk id="21" creationId="{00000000-0000-0000-0000-000000000000}"/>
            </ac:cxnSpMkLst>
          </pc:cxn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776"/>
            <pc:sldLayoutMk cId="0" sldId="2147483743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43"/>
              <ac:spMk id="1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43"/>
              <ac:spMk id="1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43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43"/>
              <ac:spMk id="1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43"/>
              <ac:spMk id="1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43"/>
              <ac:spMk id="1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43"/>
              <ac:spMk id="20" creationId="{00000000-0000-0000-0000-000000000000}"/>
            </ac:spMkLst>
          </pc:spChg>
          <pc:grpChg chg="mod">
            <ac:chgData name="Virginie PONCET" userId="ebcd993a-a2ce-4546-82a8-b8fa2d7b77e1" providerId="ADAL" clId="{E5B7E8CE-123C-4CA0-9A8C-CD46EC48866B}" dt="2023-10-20T07:04:55.744" v="695"/>
            <ac:grpSpMkLst>
              <pc:docMk/>
              <pc:sldMasterMk cId="0" sldId="2147483776"/>
              <pc:sldLayoutMk cId="0" sldId="2147483743"/>
              <ac:grpSpMk id="12" creationId="{00000000-0000-0000-0000-000000000000}"/>
            </ac:grpSpMkLst>
          </pc:grp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0" sldId="2147483776"/>
              <pc:sldLayoutMk cId="0" sldId="2147483743"/>
              <ac:picMk id="21" creationId="{539A3D69-BF5C-4CAE-80D6-09654B3EECB8}"/>
            </ac:picMkLst>
          </pc:pic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776"/>
              <pc:sldLayoutMk cId="0" sldId="2147483743"/>
              <ac:cxnSpMk id="19" creationId="{00000000-0000-0000-0000-000000000000}"/>
            </ac:cxnSpMkLst>
          </pc:cxn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776"/>
            <pc:sldLayoutMk cId="0" sldId="2147483744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44"/>
              <ac:spMk id="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44"/>
              <ac:spMk id="8" creationId="{00000000-0000-0000-0000-000000000000}"/>
            </ac:spMkLst>
          </pc:sp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0" sldId="2147483776"/>
              <pc:sldLayoutMk cId="0" sldId="2147483744"/>
              <ac:picMk id="5" creationId="{00000000-0000-0000-0000-000000000000}"/>
            </ac:picMkLst>
          </pc:pic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776"/>
            <pc:sldLayoutMk cId="0" sldId="2147483745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45"/>
              <ac:spMk id="1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45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45"/>
              <ac:spMk id="1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45"/>
              <ac:spMk id="1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45"/>
              <ac:spMk id="19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45"/>
              <ac:spMk id="2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45"/>
              <ac:spMk id="2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45"/>
              <ac:spMk id="2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45"/>
              <ac:spMk id="2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45"/>
              <ac:spMk id="2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45"/>
              <ac:spMk id="29" creationId="{00000000-0000-0000-0000-000000000000}"/>
            </ac:spMkLst>
          </pc:sp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776"/>
            <pc:sldLayoutMk cId="0" sldId="2147483746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46"/>
              <ac:spMk id="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46"/>
              <ac:spMk id="8" creationId="{E2BF1299-CAE1-4246-A5B7-84EA786928C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46"/>
              <ac:spMk id="1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46"/>
              <ac:spMk id="11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46"/>
              <ac:spMk id="12" creationId="{00000000-0000-0000-0000-000000000000}"/>
            </ac:spMkLst>
          </pc:sp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776"/>
            <pc:sldLayoutMk cId="0" sldId="2147483747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47"/>
              <ac:spMk id="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47"/>
              <ac:spMk id="1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47"/>
              <ac:spMk id="1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47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47"/>
              <ac:spMk id="1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47"/>
              <ac:spMk id="18" creationId="{00000000-0000-0000-0000-000000000000}"/>
            </ac:spMkLst>
          </pc:sp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776"/>
            <pc:sldLayoutMk cId="3658310695" sldId="2147483748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3658310695" sldId="2147483748"/>
              <ac:spMk id="3" creationId="{00000000-0000-0000-0000-000000000000}"/>
            </ac:spMkLst>
          </pc:sp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0" sldId="2147483776"/>
              <pc:sldLayoutMk cId="3658310695" sldId="2147483748"/>
              <ac:picMk id="4" creationId="{6D241E23-15E7-4A3B-A5EC-A29CA4E85FB4}"/>
            </ac:picMkLst>
          </pc:pic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776"/>
            <pc:sldLayoutMk cId="0" sldId="2147483777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77"/>
              <ac:spMk id="2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77"/>
              <ac:spMk id="2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77"/>
              <ac:spMk id="29" creationId="{00000000-0000-0000-0000-000000000000}"/>
            </ac:spMkLst>
          </pc:sp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0" sldId="2147483776"/>
              <pc:sldLayoutMk cId="0" sldId="2147483777"/>
              <ac:picMk id="9" creationId="{00000000-0000-0000-0000-000000000000}"/>
            </ac:picMkLst>
          </pc:pic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0" sldId="2147483776"/>
              <pc:sldLayoutMk cId="0" sldId="2147483777"/>
              <ac:picMk id="12" creationId="{EDC69966-E0BA-45E1-85DA-21B4DACBAF66}"/>
            </ac:picMkLst>
          </pc:pic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0" sldId="2147483776"/>
              <pc:sldLayoutMk cId="0" sldId="2147483777"/>
              <ac:picMk id="15" creationId="{00000000-0000-0000-0000-000000000000}"/>
            </ac:picMkLst>
          </pc:pic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0" sldId="2147483776"/>
              <pc:sldLayoutMk cId="0" sldId="2147483777"/>
              <ac:picMk id="16" creationId="{00000000-0000-0000-0000-000000000000}"/>
            </ac:picMkLst>
          </pc:pic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776"/>
            <pc:sldLayoutMk cId="2342783591" sldId="2147483778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2342783591" sldId="2147483778"/>
              <ac:spMk id="9" creationId="{8C7CC470-FD02-4062-811D-BCC9F9FAD4C3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2342783591" sldId="2147483778"/>
              <ac:spMk id="1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2342783591" sldId="2147483778"/>
              <ac:spMk id="1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2342783591" sldId="2147483778"/>
              <ac:spMk id="14" creationId="{00000000-0000-0000-0000-000000000000}"/>
            </ac:spMkLst>
          </pc:sp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0" sldId="2147483776"/>
              <pc:sldLayoutMk cId="2342783591" sldId="2147483778"/>
              <ac:picMk id="8" creationId="{7553FA81-B58C-4618-8A3E-7858C1F01FBA}"/>
            </ac:picMkLst>
          </pc:pic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0" sldId="2147483776"/>
              <pc:sldLayoutMk cId="2342783591" sldId="2147483778"/>
              <ac:picMk id="16" creationId="{00000000-0000-0000-0000-000000000000}"/>
            </ac:picMkLst>
          </pc:pic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776"/>
            <pc:sldLayoutMk cId="703205203" sldId="2147483779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703205203" sldId="2147483779"/>
              <ac:spMk id="3" creationId="{00000000-0000-0000-0000-000000000000}"/>
            </ac:spMkLst>
          </pc:sp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776"/>
            <pc:sldLayoutMk cId="1142282616" sldId="2147483780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1142282616" sldId="2147483780"/>
              <ac:spMk id="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1142282616" sldId="2147483780"/>
              <ac:spMk id="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1142282616" sldId="2147483780"/>
              <ac:spMk id="1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1142282616" sldId="2147483780"/>
              <ac:spMk id="11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1142282616" sldId="2147483780"/>
              <ac:spMk id="1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1142282616" sldId="2147483780"/>
              <ac:spMk id="15" creationId="{00000000-0000-0000-0000-000000000000}"/>
            </ac:spMkLst>
          </pc:sp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776"/>
            <pc:sldLayoutMk cId="2494523797" sldId="2147483781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2494523797" sldId="2147483781"/>
              <ac:spMk id="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2494523797" sldId="2147483781"/>
              <ac:spMk id="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2494523797" sldId="2147483781"/>
              <ac:spMk id="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2494523797" sldId="2147483781"/>
              <ac:spMk id="1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2494523797" sldId="2147483781"/>
              <ac:spMk id="11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2494523797" sldId="2147483781"/>
              <ac:spMk id="12" creationId="{00000000-0000-0000-0000-000000000000}"/>
            </ac:spMkLst>
          </pc:sp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776"/>
            <pc:sldLayoutMk cId="919164368" sldId="2147483782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919164368" sldId="2147483782"/>
              <ac:spMk id="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919164368" sldId="2147483782"/>
              <ac:spMk id="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919164368" sldId="2147483782"/>
              <ac:spMk id="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919164368" sldId="2147483782"/>
              <ac:spMk id="1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919164368" sldId="2147483782"/>
              <ac:spMk id="11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919164368" sldId="2147483782"/>
              <ac:spMk id="1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919164368" sldId="2147483782"/>
              <ac:spMk id="13" creationId="{00000000-0000-0000-0000-000000000000}"/>
            </ac:spMkLst>
          </pc:sp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776"/>
              <pc:sldLayoutMk cId="919164368" sldId="2147483782"/>
              <ac:cxnSpMk id="15" creationId="{00000000-0000-0000-0000-000000000000}"/>
            </ac:cxnSpMkLst>
          </pc:cxn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776"/>
            <pc:sldLayoutMk cId="2498039212" sldId="2147483783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2498039212" sldId="2147483783"/>
              <ac:spMk id="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2498039212" sldId="2147483783"/>
              <ac:spMk id="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2498039212" sldId="2147483783"/>
              <ac:spMk id="1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2498039212" sldId="2147483783"/>
              <ac:spMk id="11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2498039212" sldId="2147483783"/>
              <ac:spMk id="1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2498039212" sldId="2147483783"/>
              <ac:spMk id="1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2498039212" sldId="2147483783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2498039212" sldId="2147483783"/>
              <ac:spMk id="17" creationId="{00000000-0000-0000-0000-000000000000}"/>
            </ac:spMkLst>
          </pc:sp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776"/>
              <pc:sldLayoutMk cId="2498039212" sldId="2147483783"/>
              <ac:cxnSpMk id="15" creationId="{00000000-0000-0000-0000-000000000000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776"/>
              <pc:sldLayoutMk cId="2498039212" sldId="2147483783"/>
              <ac:cxnSpMk id="16" creationId="{00000000-0000-0000-0000-000000000000}"/>
            </ac:cxnSpMkLst>
          </pc:cxn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776"/>
            <pc:sldLayoutMk cId="1986426206" sldId="2147483784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1986426206" sldId="2147483784"/>
              <ac:spMk id="9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1986426206" sldId="2147483784"/>
              <ac:spMk id="1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1986426206" sldId="2147483784"/>
              <ac:spMk id="11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1986426206" sldId="2147483784"/>
              <ac:spMk id="1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1986426206" sldId="2147483784"/>
              <ac:spMk id="1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1986426206" sldId="2147483784"/>
              <ac:spMk id="14" creationId="{00000000-0000-0000-0000-000000000000}"/>
            </ac:spMkLst>
          </pc:sp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776"/>
              <pc:sldLayoutMk cId="1986426206" sldId="2147483784"/>
              <ac:cxnSpMk id="16" creationId="{00000000-0000-0000-0000-000000000000}"/>
            </ac:cxnSpMkLst>
          </pc:cxn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776"/>
            <pc:sldLayoutMk cId="0" sldId="2147483785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85"/>
              <ac:spMk id="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85"/>
              <ac:spMk id="1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85"/>
              <ac:spMk id="1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0" sldId="2147483785"/>
              <ac:spMk id="14" creationId="{00000000-0000-0000-0000-000000000000}"/>
            </ac:spMkLst>
          </pc:sp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776"/>
            <pc:sldLayoutMk cId="4072754290" sldId="2147483786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4072754290" sldId="2147483786"/>
              <ac:spMk id="1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4072754290" sldId="2147483786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4072754290" sldId="2147483786"/>
              <ac:spMk id="1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4072754290" sldId="2147483786"/>
              <ac:spMk id="1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4072754290" sldId="2147483786"/>
              <ac:spMk id="19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4072754290" sldId="2147483786"/>
              <ac:spMk id="2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4072754290" sldId="2147483786"/>
              <ac:spMk id="2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4072754290" sldId="2147483786"/>
              <ac:spMk id="2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4072754290" sldId="2147483786"/>
              <ac:spMk id="2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4072754290" sldId="2147483786"/>
              <ac:spMk id="2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4072754290" sldId="2147483786"/>
              <ac:spMk id="29" creationId="{00000000-0000-0000-0000-000000000000}"/>
            </ac:spMkLst>
          </pc:sp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776"/>
            <pc:sldLayoutMk cId="3349151917" sldId="2147483787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3349151917" sldId="2147483787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3349151917" sldId="2147483787"/>
              <ac:spMk id="1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3349151917" sldId="2147483787"/>
              <ac:spMk id="2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3349151917" sldId="2147483787"/>
              <ac:spMk id="24" creationId="{ED352006-6905-40BC-8AEE-8A6D662B327F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3349151917" sldId="2147483787"/>
              <ac:spMk id="25" creationId="{186BC0CC-CCE5-44BF-9ACB-14117BC01563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3349151917" sldId="2147483787"/>
              <ac:spMk id="28" creationId="{62C54668-8242-4D0E-8983-A5AF21752C5F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3349151917" sldId="2147483787"/>
              <ac:spMk id="29" creationId="{C78960D3-4CE1-4746-AFA5-CE52CBDDCBCB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3349151917" sldId="2147483787"/>
              <ac:spMk id="3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3349151917" sldId="2147483787"/>
              <ac:spMk id="3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3349151917" sldId="2147483787"/>
              <ac:spMk id="38" creationId="{59131C66-8D9E-467E-B7B9-1BBB7B69D904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3349151917" sldId="2147483787"/>
              <ac:spMk id="39" creationId="{2996BBCA-F0ED-4907-AA4E-C7CC8F3878C9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3349151917" sldId="2147483787"/>
              <ac:spMk id="40" creationId="{1437E138-D9FF-4A72-A730-215EF4009EE9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3349151917" sldId="2147483787"/>
              <ac:spMk id="41" creationId="{8D92D4F5-CA97-436B-ACBD-EE7B8C5975AF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3349151917" sldId="2147483787"/>
              <ac:spMk id="42" creationId="{4ED2C5F6-3E6C-4375-8669-7A3CAB1BC143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3349151917" sldId="2147483787"/>
              <ac:spMk id="43" creationId="{CAFEAA02-348E-40C8-994B-5BD4B13523AF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3349151917" sldId="2147483787"/>
              <ac:spMk id="44" creationId="{79453736-0CD8-40FC-B691-10EC9C54968D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3349151917" sldId="2147483787"/>
              <ac:spMk id="45" creationId="{D8FB5153-6E23-4931-8368-F632E0E94E16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3349151917" sldId="2147483787"/>
              <ac:spMk id="46" creationId="{2AB4BA13-E6A9-4CC4-9DD1-11EC7E8330BC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3349151917" sldId="2147483787"/>
              <ac:spMk id="47" creationId="{BD20CD7D-4360-4302-B1B5-03E1EE112A2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3349151917" sldId="2147483787"/>
              <ac:spMk id="48" creationId="{D45B2B62-654B-4A65-BD78-F8C912D1AC59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3349151917" sldId="2147483787"/>
              <ac:spMk id="49" creationId="{8AC88135-7D23-4322-8A0F-614B62D4EAF3}"/>
            </ac:spMkLst>
          </pc:sp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776"/>
            <pc:sldLayoutMk cId="3844626349" sldId="2147483788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3844626349" sldId="2147483788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3844626349" sldId="2147483788"/>
              <ac:spMk id="1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3844626349" sldId="2147483788"/>
              <ac:spMk id="2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3844626349" sldId="2147483788"/>
              <ac:spMk id="24" creationId="{6461358B-0A56-4569-A5C6-0B3A384E1B29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3844626349" sldId="2147483788"/>
              <ac:spMk id="25" creationId="{82DCD752-E36E-4B6F-9492-DB43B3AD23A9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3844626349" sldId="2147483788"/>
              <ac:spMk id="28" creationId="{0911885B-EC22-4174-B624-763C970801E9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3844626349" sldId="2147483788"/>
              <ac:spMk id="29" creationId="{64CBDD6D-6A64-4C13-A8BF-708ACDF26FCF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3844626349" sldId="2147483788"/>
              <ac:spMk id="3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3844626349" sldId="2147483788"/>
              <ac:spMk id="3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3844626349" sldId="2147483788"/>
              <ac:spMk id="38" creationId="{9215AAFC-F401-4370-AAFA-8CB4479E81F5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3844626349" sldId="2147483788"/>
              <ac:spMk id="39" creationId="{D243CD9A-9DB5-43E4-80C8-DD3C61B6C49B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3844626349" sldId="2147483788"/>
              <ac:spMk id="40" creationId="{EFB833CD-7047-48B5-B38E-34378C2129BE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3844626349" sldId="2147483788"/>
              <ac:spMk id="41" creationId="{BC07EC88-3436-4A00-98F5-F3DE92CB02D8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3844626349" sldId="2147483788"/>
              <ac:spMk id="42" creationId="{3B2E441E-586A-43DA-8622-6D39268C55B6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3844626349" sldId="2147483788"/>
              <ac:spMk id="43" creationId="{E3DB30A9-4F19-499B-BC4D-5B289868711D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3844626349" sldId="2147483788"/>
              <ac:spMk id="44" creationId="{E54568F8-BD6D-47CA-9A19-748CF5B4F866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3844626349" sldId="2147483788"/>
              <ac:spMk id="45" creationId="{93B1732B-28E5-420D-8BB8-EDCA288304C5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3844626349" sldId="2147483788"/>
              <ac:spMk id="46" creationId="{03B51F18-CCB7-4C76-9414-B6E1DFBC3F5C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3844626349" sldId="2147483788"/>
              <ac:spMk id="47" creationId="{CD96DEC2-60B0-48F5-81BD-520BC86D1121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3844626349" sldId="2147483788"/>
              <ac:spMk id="48" creationId="{07F2E51D-7F11-4C92-83D1-378E1DE08DBD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3844626349" sldId="2147483788"/>
              <ac:spMk id="49" creationId="{CCBACA1B-E6C4-4604-95F9-19CEBA51DBA0}"/>
            </ac:spMkLst>
          </pc:sp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776"/>
            <pc:sldLayoutMk cId="1825413448" sldId="2147483789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1825413448" sldId="2147483789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1825413448" sldId="2147483789"/>
              <ac:spMk id="2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1825413448" sldId="2147483789"/>
              <ac:spMk id="35" creationId="{019F0D43-7745-44E1-80A8-FE5B0C9EE64E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1825413448" sldId="2147483789"/>
              <ac:spMk id="3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1825413448" sldId="2147483789"/>
              <ac:spMk id="3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1825413448" sldId="2147483789"/>
              <ac:spMk id="40" creationId="{ADEA2142-C3EB-4B4B-8A3F-E3E3405EC255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1825413448" sldId="2147483789"/>
              <ac:spMk id="41" creationId="{A603A4BA-6E2E-4CF8-A9C1-56CA2A61F66D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1825413448" sldId="2147483789"/>
              <ac:spMk id="42" creationId="{04AB8FE5-43ED-417F-A85D-3B4E3EE7FFC8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1825413448" sldId="2147483789"/>
              <ac:spMk id="43" creationId="{02EC7F72-B128-4A31-9706-2CE5A812ECEB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1825413448" sldId="2147483789"/>
              <ac:spMk id="44" creationId="{E193B3B2-1272-488A-BED4-E353852F7F29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1825413448" sldId="2147483789"/>
              <ac:spMk id="45" creationId="{AFDD4972-28BD-4ACC-A610-2B9D2FF66303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1825413448" sldId="2147483789"/>
              <ac:spMk id="46" creationId="{879D26E3-1002-4D81-8125-D744F28D1DC9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1825413448" sldId="2147483789"/>
              <ac:spMk id="47" creationId="{EB31DBEC-D4BD-49F0-9F93-CD7EC04C02B8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1825413448" sldId="2147483789"/>
              <ac:spMk id="48" creationId="{C5AF0345-AF9A-4576-937E-9A48C5DF3F9D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1825413448" sldId="2147483789"/>
              <ac:spMk id="49" creationId="{A4C58047-8A78-4DE6-897E-62DD6F7B21E2}"/>
            </ac:spMkLst>
          </pc:sp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776"/>
              <pc:sldLayoutMk cId="1825413448" sldId="2147483789"/>
              <ac:cxnSpMk id="23" creationId="{4A221687-D626-4256-836D-BB2DB4E4C8D2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776"/>
              <pc:sldLayoutMk cId="1825413448" sldId="2147483789"/>
              <ac:cxnSpMk id="24" creationId="{D2BB49BF-B9D5-40A1-8273-C74341C43FD2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776"/>
              <pc:sldLayoutMk cId="1825413448" sldId="2147483789"/>
              <ac:cxnSpMk id="27" creationId="{CC10E838-BAD7-4EDD-A77F-DB90AB1841A0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776"/>
              <pc:sldLayoutMk cId="1825413448" sldId="2147483789"/>
              <ac:cxnSpMk id="29" creationId="{AA40F94A-62C8-4F9A-92A7-51D76316671A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776"/>
              <pc:sldLayoutMk cId="1825413448" sldId="2147483789"/>
              <ac:cxnSpMk id="30" creationId="{76CCF92E-B71D-48EE-B104-AACD202106FE}"/>
            </ac:cxnSpMkLst>
          </pc:cxn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776"/>
            <pc:sldLayoutMk cId="731766671" sldId="2147483790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731766671" sldId="2147483790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731766671" sldId="2147483790"/>
              <ac:spMk id="2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731766671" sldId="2147483790"/>
              <ac:spMk id="35" creationId="{79919CA6-A61D-47E8-96DD-BD3FE3E921AF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731766671" sldId="2147483790"/>
              <ac:spMk id="3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731766671" sldId="2147483790"/>
              <ac:spMk id="3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731766671" sldId="2147483790"/>
              <ac:spMk id="40" creationId="{2A50CB42-8DC1-442A-A406-ACC4FEE70045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731766671" sldId="2147483790"/>
              <ac:spMk id="41" creationId="{3933BB7B-4546-47F2-BC22-44F25FBFA3C3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731766671" sldId="2147483790"/>
              <ac:spMk id="42" creationId="{0E635663-D3FF-40C2-BA51-CD6B6D583BE1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731766671" sldId="2147483790"/>
              <ac:spMk id="43" creationId="{A58C367D-FC47-48AF-AA4E-57BAFAFCD109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731766671" sldId="2147483790"/>
              <ac:spMk id="44" creationId="{99E5482B-8E61-4C0E-9FB4-A6272760A3DD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731766671" sldId="2147483790"/>
              <ac:spMk id="45" creationId="{79E56E79-1472-4852-9BBE-102A536C8828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731766671" sldId="2147483790"/>
              <ac:spMk id="46" creationId="{7C3C4FAF-C595-41E6-B18F-617046792626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731766671" sldId="2147483790"/>
              <ac:spMk id="47" creationId="{6598A32A-181B-4903-8307-9B3E17A5E16B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731766671" sldId="2147483790"/>
              <ac:spMk id="48" creationId="{8570484C-87D1-41A4-825F-F77893D93481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731766671" sldId="2147483790"/>
              <ac:spMk id="49" creationId="{91396965-3136-48C7-B6A4-C6EBA1D0E2BE}"/>
            </ac:spMkLst>
          </pc:sp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776"/>
              <pc:sldLayoutMk cId="731766671" sldId="2147483790"/>
              <ac:cxnSpMk id="23" creationId="{160D7922-6446-4990-8730-D8CA9141ACDF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776"/>
              <pc:sldLayoutMk cId="731766671" sldId="2147483790"/>
              <ac:cxnSpMk id="24" creationId="{EECBB287-BD1A-4BF7-B937-349728A34109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776"/>
              <pc:sldLayoutMk cId="731766671" sldId="2147483790"/>
              <ac:cxnSpMk id="27" creationId="{B4AC0697-6C88-4A97-A6C1-F2079FB70476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776"/>
              <pc:sldLayoutMk cId="731766671" sldId="2147483790"/>
              <ac:cxnSpMk id="29" creationId="{EFC7C871-9F03-4E03-9071-BD6D444CD731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776"/>
              <pc:sldLayoutMk cId="731766671" sldId="2147483790"/>
              <ac:cxnSpMk id="30" creationId="{0DF53256-4F91-49B5-A0EB-F5682664B991}"/>
            </ac:cxnSpMkLst>
          </pc:cxn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776"/>
            <pc:sldLayoutMk cId="1144610768" sldId="2147483791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1144610768" sldId="2147483791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1144610768" sldId="2147483791"/>
              <ac:spMk id="20" creationId="{B7A21CA5-0207-4C3E-90C3-7DD273116005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1144610768" sldId="2147483791"/>
              <ac:spMk id="2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1144610768" sldId="2147483791"/>
              <ac:spMk id="23" creationId="{B29715FA-9373-4C2C-8517-F717D2F31AA4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1144610768" sldId="2147483791"/>
              <ac:spMk id="25" creationId="{3A34D903-599D-47A5-A3ED-92C29861F182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1144610768" sldId="2147483791"/>
              <ac:spMk id="26" creationId="{79AE7131-36C2-4915-B47D-39BCF2AFBFDF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1144610768" sldId="2147483791"/>
              <ac:spMk id="28" creationId="{A9F7F641-6BFC-43B6-9AEF-C2C12ADF3004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1144610768" sldId="2147483791"/>
              <ac:spMk id="31" creationId="{D2A5695B-167E-499E-9CE4-3D5C49DD2203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1144610768" sldId="2147483791"/>
              <ac:spMk id="34" creationId="{3D24B1E6-9AFF-4E70-B28D-D4BB959630D3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1144610768" sldId="2147483791"/>
              <ac:spMk id="3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1144610768" sldId="2147483791"/>
              <ac:spMk id="3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1144610768" sldId="2147483791"/>
              <ac:spMk id="38" creationId="{E3CCCCB0-701A-4E5E-8A97-9E8D2798E2C8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1144610768" sldId="2147483791"/>
              <ac:spMk id="39" creationId="{5E846E63-F106-4297-A998-2AF6259FC610}"/>
            </ac:spMkLst>
          </pc:sp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776"/>
              <pc:sldLayoutMk cId="1144610768" sldId="2147483791"/>
              <ac:cxnSpMk id="19" creationId="{7EDAC262-0923-462D-B3AA-5EBE99CC44FE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776"/>
              <pc:sldLayoutMk cId="1144610768" sldId="2147483791"/>
              <ac:cxnSpMk id="21" creationId="{5FF5AADA-ABA9-4C87-A162-8DD1F42FEB11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776"/>
              <pc:sldLayoutMk cId="1144610768" sldId="2147483791"/>
              <ac:cxnSpMk id="32" creationId="{F392363A-3157-4C92-A595-89064DE954EE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0" sldId="2147483776"/>
              <pc:sldLayoutMk cId="1144610768" sldId="2147483791"/>
              <ac:cxnSpMk id="33" creationId="{D66A6A32-0372-4B11-8BD1-F89FBA43F61A}"/>
            </ac:cxnSpMkLst>
          </pc:cxn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776"/>
            <pc:sldLayoutMk cId="3573507931" sldId="2147483792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3573507931" sldId="2147483792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3573507931" sldId="2147483792"/>
              <ac:spMk id="2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3573507931" sldId="2147483792"/>
              <ac:spMk id="3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3573507931" sldId="2147483792"/>
              <ac:spMk id="37" creationId="{00000000-0000-0000-0000-000000000000}"/>
            </ac:spMkLst>
          </pc:sp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0" sldId="2147483776"/>
              <pc:sldLayoutMk cId="3573507931" sldId="2147483792"/>
              <ac:picMk id="7" creationId="{9FFD36EB-F48D-47DC-A4AE-5CFB11B7AE98}"/>
            </ac:picMkLst>
          </pc:pic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0" sldId="2147483776"/>
            <pc:sldLayoutMk cId="2722654758" sldId="2147483793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2722654758" sldId="2147483793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2722654758" sldId="2147483793"/>
              <ac:spMk id="2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2722654758" sldId="2147483793"/>
              <ac:spMk id="3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0" sldId="2147483776"/>
              <pc:sldLayoutMk cId="2722654758" sldId="2147483793"/>
              <ac:spMk id="37" creationId="{00000000-0000-0000-0000-000000000000}"/>
            </ac:spMkLst>
          </pc:sp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0" sldId="2147483776"/>
              <pc:sldLayoutMk cId="2722654758" sldId="2147483793"/>
              <ac:picMk id="7" creationId="{3D15D99A-F3E4-48CF-BB41-F7AA5D5372F9}"/>
            </ac:picMkLst>
          </pc:picChg>
        </pc:sldLayoutChg>
      </pc:sldMasterChg>
      <pc:sldMasterChg chg="modSp modSldLayout">
        <pc:chgData name="Virginie PONCET" userId="ebcd993a-a2ce-4546-82a8-b8fa2d7b77e1" providerId="ADAL" clId="{E5B7E8CE-123C-4CA0-9A8C-CD46EC48866B}" dt="2023-10-20T07:04:55.744" v="695"/>
        <pc:sldMasterMkLst>
          <pc:docMk/>
          <pc:sldMasterMk cId="1896801691" sldId="2147483797"/>
        </pc:sldMasterMkLst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asterMk cId="1896801691" sldId="2147483797"/>
            <ac:spMk id="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asterMk cId="1896801691" sldId="2147483797"/>
            <ac:spMk id="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asterMk cId="1896801691" sldId="2147483797"/>
            <ac:spMk id="8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asterMk cId="1896801691" sldId="2147483797"/>
            <ac:spMk id="10" creationId="{2EF862A3-1A8B-4D02-89F3-32AF06485E24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asterMk cId="1896801691" sldId="2147483797"/>
            <ac:spMk id="13" creationId="{04F1BF72-CA9E-4A76-B0AA-EBA4F64349B8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asterMk cId="1896801691" sldId="2147483797"/>
            <ac:spMk id="15" creationId="{911D5F6E-322A-490F-9DB1-97FA23DC2BD3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asterMk cId="1896801691" sldId="2147483797"/>
            <ac:spMk id="16" creationId="{AA09D827-B326-43D8-AC70-0EAA32EC83D6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asterMk cId="1896801691" sldId="2147483797"/>
            <ac:spMk id="17" creationId="{0B105B4D-2A75-4A75-A876-C088DB3B07F4}"/>
          </ac:spMkLst>
        </pc:spChg>
        <pc:picChg chg="mod">
          <ac:chgData name="Virginie PONCET" userId="ebcd993a-a2ce-4546-82a8-b8fa2d7b77e1" providerId="ADAL" clId="{E5B7E8CE-123C-4CA0-9A8C-CD46EC48866B}" dt="2023-10-20T07:04:55.744" v="695"/>
          <ac:picMkLst>
            <pc:docMk/>
            <pc:sldMasterMk cId="1896801691" sldId="2147483797"/>
            <ac:picMk id="9" creationId="{00000000-0000-0000-0000-000000000000}"/>
          </ac:picMkLst>
        </pc:picChg>
        <pc:picChg chg="mod">
          <ac:chgData name="Virginie PONCET" userId="ebcd993a-a2ce-4546-82a8-b8fa2d7b77e1" providerId="ADAL" clId="{E5B7E8CE-123C-4CA0-9A8C-CD46EC48866B}" dt="2023-10-20T07:04:55.744" v="695"/>
          <ac:picMkLst>
            <pc:docMk/>
            <pc:sldMasterMk cId="1896801691" sldId="2147483797"/>
            <ac:picMk id="11" creationId="{00000000-0000-0000-0000-000000000000}"/>
          </ac:picMkLst>
        </pc:picChg>
        <pc:cxnChg chg="mod">
          <ac:chgData name="Virginie PONCET" userId="ebcd993a-a2ce-4546-82a8-b8fa2d7b77e1" providerId="ADAL" clId="{E5B7E8CE-123C-4CA0-9A8C-CD46EC48866B}" dt="2023-10-20T07:04:55.744" v="695"/>
          <ac:cxnSpMkLst>
            <pc:docMk/>
            <pc:sldMasterMk cId="1896801691" sldId="2147483797"/>
            <ac:cxnSpMk id="14" creationId="{00000000-0000-0000-0000-000000000000}"/>
          </ac:cxnSpMkLst>
        </pc:cxn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1896801691" sldId="2147483797"/>
            <pc:sldLayoutMk cId="1254559705" sldId="2147483798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1254559705" sldId="2147483798"/>
              <ac:spMk id="2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1254559705" sldId="2147483798"/>
              <ac:spMk id="2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1254559705" sldId="2147483798"/>
              <ac:spMk id="29" creationId="{00000000-0000-0000-0000-000000000000}"/>
            </ac:spMkLst>
          </pc:sp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1896801691" sldId="2147483797"/>
              <pc:sldLayoutMk cId="1254559705" sldId="2147483798"/>
              <ac:picMk id="9" creationId="{00000000-0000-0000-0000-000000000000}"/>
            </ac:picMkLst>
          </pc:pic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1896801691" sldId="2147483797"/>
              <pc:sldLayoutMk cId="1254559705" sldId="2147483798"/>
              <ac:picMk id="15" creationId="{00000000-0000-0000-0000-000000000000}"/>
            </ac:picMkLst>
          </pc:pic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1896801691" sldId="2147483797"/>
              <pc:sldLayoutMk cId="1254559705" sldId="2147483798"/>
              <ac:picMk id="16" creationId="{00000000-0000-0000-0000-000000000000}"/>
            </ac:picMkLst>
          </pc:pic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1896801691" sldId="2147483797"/>
              <pc:sldLayoutMk cId="1254559705" sldId="2147483798"/>
              <ac:picMk id="17" creationId="{00000000-0000-0000-0000-000000000000}"/>
            </ac:picMkLst>
          </pc:pic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1896801691" sldId="2147483797"/>
            <pc:sldLayoutMk cId="2597774702" sldId="2147483799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597774702" sldId="2147483799"/>
              <ac:spMk id="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597774702" sldId="2147483799"/>
              <ac:spMk id="1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597774702" sldId="2147483799"/>
              <ac:spMk id="1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597774702" sldId="2147483799"/>
              <ac:spMk id="14" creationId="{00000000-0000-0000-0000-000000000000}"/>
            </ac:spMkLst>
          </pc:sp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1896801691" sldId="2147483797"/>
              <pc:sldLayoutMk cId="2597774702" sldId="2147483799"/>
              <ac:picMk id="8" creationId="{00000000-0000-0000-0000-000000000000}"/>
            </ac:picMkLst>
          </pc:pic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1896801691" sldId="2147483797"/>
              <pc:sldLayoutMk cId="2597774702" sldId="2147483799"/>
              <ac:picMk id="16" creationId="{00000000-0000-0000-0000-000000000000}"/>
            </ac:picMkLst>
          </pc:pic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1896801691" sldId="2147483797"/>
            <pc:sldLayoutMk cId="2906744754" sldId="2147483800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906744754" sldId="2147483800"/>
              <ac:spMk id="3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906744754" sldId="2147483800"/>
              <ac:spMk id="3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906744754" sldId="2147483800"/>
              <ac:spMk id="41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906744754" sldId="2147483800"/>
              <ac:spMk id="4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906744754" sldId="2147483800"/>
              <ac:spMk id="4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906744754" sldId="2147483800"/>
              <ac:spMk id="4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906744754" sldId="2147483800"/>
              <ac:spMk id="4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906744754" sldId="2147483800"/>
              <ac:spMk id="4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906744754" sldId="2147483800"/>
              <ac:spMk id="4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906744754" sldId="2147483800"/>
              <ac:spMk id="48" creationId="{00000000-0000-0000-0000-000000000000}"/>
            </ac:spMkLst>
          </pc:sp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1896801691" sldId="2147483797"/>
              <pc:sldLayoutMk cId="2906744754" sldId="2147483800"/>
              <ac:picMk id="52" creationId="{00000000-0000-0000-0000-000000000000}"/>
            </ac:picMkLst>
          </pc:pic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1896801691" sldId="2147483797"/>
            <pc:sldLayoutMk cId="3412940036" sldId="2147483801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3412940036" sldId="2147483801"/>
              <ac:spMk id="1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3412940036" sldId="2147483801"/>
              <ac:spMk id="1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3412940036" sldId="2147483801"/>
              <ac:spMk id="1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3412940036" sldId="2147483801"/>
              <ac:spMk id="1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3412940036" sldId="2147483801"/>
              <ac:spMk id="1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3412940036" sldId="2147483801"/>
              <ac:spMk id="1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3412940036" sldId="2147483801"/>
              <ac:spMk id="19" creationId="{00000000-0000-0000-0000-000000000000}"/>
            </ac:spMkLst>
          </pc:spChg>
          <pc:grpChg chg="mod">
            <ac:chgData name="Virginie PONCET" userId="ebcd993a-a2ce-4546-82a8-b8fa2d7b77e1" providerId="ADAL" clId="{E5B7E8CE-123C-4CA0-9A8C-CD46EC48866B}" dt="2023-10-20T07:04:55.744" v="695"/>
            <ac:grpSpMkLst>
              <pc:docMk/>
              <pc:sldMasterMk cId="1896801691" sldId="2147483797"/>
              <pc:sldLayoutMk cId="3412940036" sldId="2147483801"/>
              <ac:grpSpMk id="11" creationId="{00000000-0000-0000-0000-000000000000}"/>
            </ac:grpSpMkLst>
          </pc:grp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1896801691" sldId="2147483797"/>
              <pc:sldLayoutMk cId="3412940036" sldId="2147483801"/>
              <ac:picMk id="18" creationId="{00000000-0000-0000-0000-000000000000}"/>
            </ac:picMkLst>
          </pc:pic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1896801691" sldId="2147483797"/>
              <pc:sldLayoutMk cId="3412940036" sldId="2147483801"/>
              <ac:cxnSpMk id="21" creationId="{00000000-0000-0000-0000-000000000000}"/>
            </ac:cxnSpMkLst>
          </pc:cxn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1896801691" sldId="2147483797"/>
            <pc:sldLayoutMk cId="2631056946" sldId="2147483802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631056946" sldId="2147483802"/>
              <ac:spMk id="1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631056946" sldId="2147483802"/>
              <ac:spMk id="1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631056946" sldId="2147483802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631056946" sldId="2147483802"/>
              <ac:spMk id="1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631056946" sldId="2147483802"/>
              <ac:spMk id="1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631056946" sldId="2147483802"/>
              <ac:spMk id="1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631056946" sldId="2147483802"/>
              <ac:spMk id="20" creationId="{00000000-0000-0000-0000-000000000000}"/>
            </ac:spMkLst>
          </pc:spChg>
          <pc:grpChg chg="mod">
            <ac:chgData name="Virginie PONCET" userId="ebcd993a-a2ce-4546-82a8-b8fa2d7b77e1" providerId="ADAL" clId="{E5B7E8CE-123C-4CA0-9A8C-CD46EC48866B}" dt="2023-10-20T07:04:55.744" v="695"/>
            <ac:grpSpMkLst>
              <pc:docMk/>
              <pc:sldMasterMk cId="1896801691" sldId="2147483797"/>
              <pc:sldLayoutMk cId="2631056946" sldId="2147483802"/>
              <ac:grpSpMk id="12" creationId="{00000000-0000-0000-0000-000000000000}"/>
            </ac:grpSpMkLst>
          </pc:grp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1896801691" sldId="2147483797"/>
              <pc:sldLayoutMk cId="2631056946" sldId="2147483802"/>
              <ac:picMk id="17" creationId="{00000000-0000-0000-0000-000000000000}"/>
            </ac:picMkLst>
          </pc:pic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1896801691" sldId="2147483797"/>
              <pc:sldLayoutMk cId="2631056946" sldId="2147483802"/>
              <ac:cxnSpMk id="19" creationId="{00000000-0000-0000-0000-000000000000}"/>
            </ac:cxnSpMkLst>
          </pc:cxn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1896801691" sldId="2147483797"/>
            <pc:sldLayoutMk cId="2431905012" sldId="2147483803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431905012" sldId="2147483803"/>
              <ac:spMk id="3" creationId="{00000000-0000-0000-0000-000000000000}"/>
            </ac:spMkLst>
          </pc:sp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1896801691" sldId="2147483797"/>
            <pc:sldLayoutMk cId="1491646401" sldId="2147483804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1491646401" sldId="2147483804"/>
              <ac:spMk id="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1491646401" sldId="2147483804"/>
              <ac:spMk id="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1491646401" sldId="2147483804"/>
              <ac:spMk id="1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1491646401" sldId="2147483804"/>
              <ac:spMk id="11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1491646401" sldId="2147483804"/>
              <ac:spMk id="12" creationId="{00000000-0000-0000-0000-000000000000}"/>
            </ac:spMkLst>
          </pc:sp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1896801691" sldId="2147483797"/>
            <pc:sldLayoutMk cId="1107788588" sldId="2147483805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1107788588" sldId="2147483805"/>
              <ac:spMk id="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1107788588" sldId="2147483805"/>
              <ac:spMk id="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1107788588" sldId="2147483805"/>
              <ac:spMk id="1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1107788588" sldId="2147483805"/>
              <ac:spMk id="11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1107788588" sldId="2147483805"/>
              <ac:spMk id="1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1107788588" sldId="2147483805"/>
              <ac:spMk id="15" creationId="{00000000-0000-0000-0000-000000000000}"/>
            </ac:spMkLst>
          </pc:sp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1896801691" sldId="2147483797"/>
            <pc:sldLayoutMk cId="2080838997" sldId="2147483806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080838997" sldId="2147483806"/>
              <ac:spMk id="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080838997" sldId="2147483806"/>
              <ac:spMk id="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080838997" sldId="2147483806"/>
              <ac:spMk id="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080838997" sldId="2147483806"/>
              <ac:spMk id="1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080838997" sldId="2147483806"/>
              <ac:spMk id="11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080838997" sldId="2147483806"/>
              <ac:spMk id="12" creationId="{00000000-0000-0000-0000-000000000000}"/>
            </ac:spMkLst>
          </pc:sp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1896801691" sldId="2147483797"/>
            <pc:sldLayoutMk cId="2806696013" sldId="2147483807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806696013" sldId="2147483807"/>
              <ac:spMk id="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806696013" sldId="2147483807"/>
              <ac:spMk id="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806696013" sldId="2147483807"/>
              <ac:spMk id="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806696013" sldId="2147483807"/>
              <ac:spMk id="1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806696013" sldId="2147483807"/>
              <ac:spMk id="11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806696013" sldId="2147483807"/>
              <ac:spMk id="1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806696013" sldId="2147483807"/>
              <ac:spMk id="13" creationId="{00000000-0000-0000-0000-000000000000}"/>
            </ac:spMkLst>
          </pc:sp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1896801691" sldId="2147483797"/>
              <pc:sldLayoutMk cId="2806696013" sldId="2147483807"/>
              <ac:cxnSpMk id="15" creationId="{00000000-0000-0000-0000-000000000000}"/>
            </ac:cxnSpMkLst>
          </pc:cxn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1896801691" sldId="2147483797"/>
            <pc:sldLayoutMk cId="2880318377" sldId="2147483808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880318377" sldId="2147483808"/>
              <ac:spMk id="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880318377" sldId="2147483808"/>
              <ac:spMk id="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880318377" sldId="2147483808"/>
              <ac:spMk id="1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880318377" sldId="2147483808"/>
              <ac:spMk id="11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880318377" sldId="2147483808"/>
              <ac:spMk id="1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880318377" sldId="2147483808"/>
              <ac:spMk id="1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880318377" sldId="2147483808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880318377" sldId="2147483808"/>
              <ac:spMk id="17" creationId="{00000000-0000-0000-0000-000000000000}"/>
            </ac:spMkLst>
          </pc:sp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1896801691" sldId="2147483797"/>
              <pc:sldLayoutMk cId="2880318377" sldId="2147483808"/>
              <ac:cxnSpMk id="15" creationId="{00000000-0000-0000-0000-000000000000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1896801691" sldId="2147483797"/>
              <pc:sldLayoutMk cId="2880318377" sldId="2147483808"/>
              <ac:cxnSpMk id="16" creationId="{00000000-0000-0000-0000-000000000000}"/>
            </ac:cxnSpMkLst>
          </pc:cxn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1896801691" sldId="2147483797"/>
            <pc:sldLayoutMk cId="2108761528" sldId="2147483809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108761528" sldId="2147483809"/>
              <ac:spMk id="9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108761528" sldId="2147483809"/>
              <ac:spMk id="1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108761528" sldId="2147483809"/>
              <ac:spMk id="11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108761528" sldId="2147483809"/>
              <ac:spMk id="1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108761528" sldId="2147483809"/>
              <ac:spMk id="1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108761528" sldId="2147483809"/>
              <ac:spMk id="14" creationId="{00000000-0000-0000-0000-000000000000}"/>
            </ac:spMkLst>
          </pc:sp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1896801691" sldId="2147483797"/>
              <pc:sldLayoutMk cId="2108761528" sldId="2147483809"/>
              <ac:cxnSpMk id="16" creationId="{00000000-0000-0000-0000-000000000000}"/>
            </ac:cxnSpMkLst>
          </pc:cxn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1896801691" sldId="2147483797"/>
            <pc:sldLayoutMk cId="1040330127" sldId="2147483810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1040330127" sldId="2147483810"/>
              <ac:spMk id="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1040330127" sldId="2147483810"/>
              <ac:spMk id="1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1040330127" sldId="2147483810"/>
              <ac:spMk id="1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1040330127" sldId="2147483810"/>
              <ac:spMk id="14" creationId="{00000000-0000-0000-0000-000000000000}"/>
            </ac:spMkLst>
          </pc:sp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1896801691" sldId="2147483797"/>
            <pc:sldLayoutMk cId="2230202163" sldId="2147483811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230202163" sldId="2147483811"/>
              <ac:spMk id="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230202163" sldId="2147483811"/>
              <ac:spMk id="1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230202163" sldId="2147483811"/>
              <ac:spMk id="1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230202163" sldId="2147483811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230202163" sldId="2147483811"/>
              <ac:spMk id="1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230202163" sldId="2147483811"/>
              <ac:spMk id="18" creationId="{00000000-0000-0000-0000-000000000000}"/>
            </ac:spMkLst>
          </pc:sp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1896801691" sldId="2147483797"/>
            <pc:sldLayoutMk cId="2585331542" sldId="2147483812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585331542" sldId="2147483812"/>
              <ac:spMk id="1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585331542" sldId="2147483812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585331542" sldId="2147483812"/>
              <ac:spMk id="1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585331542" sldId="2147483812"/>
              <ac:spMk id="1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585331542" sldId="2147483812"/>
              <ac:spMk id="19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585331542" sldId="2147483812"/>
              <ac:spMk id="2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585331542" sldId="2147483812"/>
              <ac:spMk id="2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585331542" sldId="2147483812"/>
              <ac:spMk id="2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585331542" sldId="2147483812"/>
              <ac:spMk id="2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585331542" sldId="2147483812"/>
              <ac:spMk id="2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585331542" sldId="2147483812"/>
              <ac:spMk id="29" creationId="{00000000-0000-0000-0000-000000000000}"/>
            </ac:spMkLst>
          </pc:sp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1896801691" sldId="2147483797"/>
            <pc:sldLayoutMk cId="2801940045" sldId="2147483813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801940045" sldId="2147483813"/>
              <ac:spMk id="1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801940045" sldId="2147483813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801940045" sldId="2147483813"/>
              <ac:spMk id="1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801940045" sldId="2147483813"/>
              <ac:spMk id="1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801940045" sldId="2147483813"/>
              <ac:spMk id="19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801940045" sldId="2147483813"/>
              <ac:spMk id="2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801940045" sldId="2147483813"/>
              <ac:spMk id="2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801940045" sldId="2147483813"/>
              <ac:spMk id="2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801940045" sldId="2147483813"/>
              <ac:spMk id="2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801940045" sldId="2147483813"/>
              <ac:spMk id="2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801940045" sldId="2147483813"/>
              <ac:spMk id="29" creationId="{00000000-0000-0000-0000-000000000000}"/>
            </ac:spMkLst>
          </pc:sp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1896801691" sldId="2147483797"/>
            <pc:sldLayoutMk cId="2799845103" sldId="2147483814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799845103" sldId="2147483814"/>
              <ac:spMk id="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799845103" sldId="2147483814"/>
              <ac:spMk id="1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799845103" sldId="2147483814"/>
              <ac:spMk id="1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799845103" sldId="2147483814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799845103" sldId="2147483814"/>
              <ac:spMk id="1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799845103" sldId="2147483814"/>
              <ac:spMk id="1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799845103" sldId="2147483814"/>
              <ac:spMk id="1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799845103" sldId="2147483814"/>
              <ac:spMk id="19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799845103" sldId="2147483814"/>
              <ac:spMk id="2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799845103" sldId="2147483814"/>
              <ac:spMk id="21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799845103" sldId="2147483814"/>
              <ac:spMk id="2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799845103" sldId="2147483814"/>
              <ac:spMk id="3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799845103" sldId="2147483814"/>
              <ac:spMk id="3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799845103" sldId="2147483814"/>
              <ac:spMk id="5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799845103" sldId="2147483814"/>
              <ac:spMk id="5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799845103" sldId="2147483814"/>
              <ac:spMk id="5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799845103" sldId="2147483814"/>
              <ac:spMk id="5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799845103" sldId="2147483814"/>
              <ac:spMk id="5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799845103" sldId="2147483814"/>
              <ac:spMk id="5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799845103" sldId="2147483814"/>
              <ac:spMk id="5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799845103" sldId="2147483814"/>
              <ac:spMk id="58" creationId="{00000000-0000-0000-0000-000000000000}"/>
            </ac:spMkLst>
          </pc:sp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1896801691" sldId="2147483797"/>
            <pc:sldLayoutMk cId="1060061062" sldId="2147483815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1060061062" sldId="2147483815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1060061062" sldId="2147483815"/>
              <ac:spMk id="1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1060061062" sldId="2147483815"/>
              <ac:spMk id="2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1060061062" sldId="2147483815"/>
              <ac:spMk id="2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1060061062" sldId="2147483815"/>
              <ac:spMk id="2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1060061062" sldId="2147483815"/>
              <ac:spMk id="2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1060061062" sldId="2147483815"/>
              <ac:spMk id="29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1060061062" sldId="2147483815"/>
              <ac:spMk id="3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1060061062" sldId="2147483815"/>
              <ac:spMk id="3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1060061062" sldId="2147483815"/>
              <ac:spMk id="3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1060061062" sldId="2147483815"/>
              <ac:spMk id="39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1060061062" sldId="2147483815"/>
              <ac:spMk id="4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1060061062" sldId="2147483815"/>
              <ac:spMk id="41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1060061062" sldId="2147483815"/>
              <ac:spMk id="5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1060061062" sldId="2147483815"/>
              <ac:spMk id="51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1060061062" sldId="2147483815"/>
              <ac:spMk id="5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1060061062" sldId="2147483815"/>
              <ac:spMk id="5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1060061062" sldId="2147483815"/>
              <ac:spMk id="5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1060061062" sldId="2147483815"/>
              <ac:spMk id="5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1060061062" sldId="2147483815"/>
              <ac:spMk id="5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1060061062" sldId="2147483815"/>
              <ac:spMk id="57" creationId="{00000000-0000-0000-0000-000000000000}"/>
            </ac:spMkLst>
          </pc:sp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1896801691" sldId="2147483797"/>
            <pc:sldLayoutMk cId="3523568011" sldId="2147483816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3523568011" sldId="2147483816"/>
              <ac:spMk id="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3523568011" sldId="2147483816"/>
              <ac:spMk id="1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3523568011" sldId="2147483816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3523568011" sldId="2147483816"/>
              <ac:spMk id="1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3523568011" sldId="2147483816"/>
              <ac:spMk id="19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3523568011" sldId="2147483816"/>
              <ac:spMk id="2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3523568011" sldId="2147483816"/>
              <ac:spMk id="2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3523568011" sldId="2147483816"/>
              <ac:spMk id="2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3523568011" sldId="2147483816"/>
              <ac:spMk id="2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3523568011" sldId="2147483816"/>
              <ac:spMk id="2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3523568011" sldId="2147483816"/>
              <ac:spMk id="3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3523568011" sldId="2147483816"/>
              <ac:spMk id="3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3523568011" sldId="2147483816"/>
              <ac:spMk id="3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3523568011" sldId="2147483816"/>
              <ac:spMk id="3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3523568011" sldId="2147483816"/>
              <ac:spMk id="40" creationId="{00000000-0000-0000-0000-000000000000}"/>
            </ac:spMkLst>
          </pc:sp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1896801691" sldId="2147483797"/>
              <pc:sldLayoutMk cId="3523568011" sldId="2147483816"/>
              <ac:cxnSpMk id="4" creationId="{00000000-0000-0000-0000-000000000000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1896801691" sldId="2147483797"/>
              <pc:sldLayoutMk cId="3523568011" sldId="2147483816"/>
              <ac:cxnSpMk id="25" creationId="{00000000-0000-0000-0000-000000000000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1896801691" sldId="2147483797"/>
              <pc:sldLayoutMk cId="3523568011" sldId="2147483816"/>
              <ac:cxnSpMk id="28" creationId="{00000000-0000-0000-0000-000000000000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1896801691" sldId="2147483797"/>
              <pc:sldLayoutMk cId="3523568011" sldId="2147483816"/>
              <ac:cxnSpMk id="38" creationId="{00000000-0000-0000-0000-000000000000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1896801691" sldId="2147483797"/>
              <pc:sldLayoutMk cId="3523568011" sldId="2147483816"/>
              <ac:cxnSpMk id="39" creationId="{00000000-0000-0000-0000-000000000000}"/>
            </ac:cxnSpMkLst>
          </pc:cxn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1896801691" sldId="2147483797"/>
            <pc:sldLayoutMk cId="2574533164" sldId="2147483817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574533164" sldId="2147483817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574533164" sldId="2147483817"/>
              <ac:spMk id="2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574533164" sldId="2147483817"/>
              <ac:spMk id="3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574533164" sldId="2147483817"/>
              <ac:spMk id="3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574533164" sldId="2147483817"/>
              <ac:spMk id="3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574533164" sldId="2147483817"/>
              <ac:spMk id="4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574533164" sldId="2147483817"/>
              <ac:spMk id="41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574533164" sldId="2147483817"/>
              <ac:spMk id="4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574533164" sldId="2147483817"/>
              <ac:spMk id="4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574533164" sldId="2147483817"/>
              <ac:spMk id="4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574533164" sldId="2147483817"/>
              <ac:spMk id="4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574533164" sldId="2147483817"/>
              <ac:spMk id="4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574533164" sldId="2147483817"/>
              <ac:spMk id="4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574533164" sldId="2147483817"/>
              <ac:spMk id="4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574533164" sldId="2147483817"/>
              <ac:spMk id="49" creationId="{00000000-0000-0000-0000-000000000000}"/>
            </ac:spMkLst>
          </pc:sp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1896801691" sldId="2147483797"/>
              <pc:sldLayoutMk cId="2574533164" sldId="2147483817"/>
              <ac:cxnSpMk id="23" creationId="{00000000-0000-0000-0000-000000000000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1896801691" sldId="2147483797"/>
              <pc:sldLayoutMk cId="2574533164" sldId="2147483817"/>
              <ac:cxnSpMk id="24" creationId="{00000000-0000-0000-0000-000000000000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1896801691" sldId="2147483797"/>
              <pc:sldLayoutMk cId="2574533164" sldId="2147483817"/>
              <ac:cxnSpMk id="27" creationId="{00000000-0000-0000-0000-000000000000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1896801691" sldId="2147483797"/>
              <pc:sldLayoutMk cId="2574533164" sldId="2147483817"/>
              <ac:cxnSpMk id="29" creationId="{00000000-0000-0000-0000-000000000000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1896801691" sldId="2147483797"/>
              <pc:sldLayoutMk cId="2574533164" sldId="2147483817"/>
              <ac:cxnSpMk id="30" creationId="{00000000-0000-0000-0000-000000000000}"/>
            </ac:cxnSpMkLst>
          </pc:cxn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1896801691" sldId="2147483797"/>
            <pc:sldLayoutMk cId="2093433679" sldId="2147483818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093433679" sldId="2147483818"/>
              <ac:spMk id="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093433679" sldId="2147483818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093433679" sldId="2147483818"/>
              <ac:spMk id="2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093433679" sldId="2147483818"/>
              <ac:spMk id="2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093433679" sldId="2147483818"/>
              <ac:spMk id="29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093433679" sldId="2147483818"/>
              <ac:spMk id="3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093433679" sldId="2147483818"/>
              <ac:spMk id="3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093433679" sldId="2147483818"/>
              <ac:spMk id="3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093433679" sldId="2147483818"/>
              <ac:spMk id="3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093433679" sldId="2147483818"/>
              <ac:spMk id="4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093433679" sldId="2147483818"/>
              <ac:spMk id="4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093433679" sldId="2147483818"/>
              <ac:spMk id="4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093433679" sldId="2147483818"/>
              <ac:spMk id="45" creationId="{00000000-0000-0000-0000-000000000000}"/>
            </ac:spMkLst>
          </pc:sp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1896801691" sldId="2147483797"/>
              <pc:sldLayoutMk cId="2093433679" sldId="2147483818"/>
              <ac:cxnSpMk id="4" creationId="{00000000-0000-0000-0000-000000000000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1896801691" sldId="2147483797"/>
              <pc:sldLayoutMk cId="2093433679" sldId="2147483818"/>
              <ac:cxnSpMk id="24" creationId="{00000000-0000-0000-0000-000000000000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1896801691" sldId="2147483797"/>
              <pc:sldLayoutMk cId="2093433679" sldId="2147483818"/>
              <ac:cxnSpMk id="41" creationId="{00000000-0000-0000-0000-000000000000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1896801691" sldId="2147483797"/>
              <pc:sldLayoutMk cId="2093433679" sldId="2147483818"/>
              <ac:cxnSpMk id="42" creationId="{00000000-0000-0000-0000-000000000000}"/>
            </ac:cxnSpMkLst>
          </pc:cxn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1896801691" sldId="2147483797"/>
            <pc:sldLayoutMk cId="1137228590" sldId="2147483819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1137228590" sldId="2147483819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1137228590" sldId="2147483819"/>
              <ac:spMk id="2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1137228590" sldId="2147483819"/>
              <ac:spMk id="3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1137228590" sldId="2147483819"/>
              <ac:spMk id="37" creationId="{00000000-0000-0000-0000-000000000000}"/>
            </ac:spMkLst>
          </pc:sp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1896801691" sldId="2147483797"/>
              <pc:sldLayoutMk cId="1137228590" sldId="2147483819"/>
              <ac:picMk id="3" creationId="{00000000-0000-0000-0000-000000000000}"/>
            </ac:picMkLst>
          </pc:pic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1896801691" sldId="2147483797"/>
            <pc:sldLayoutMk cId="1322484802" sldId="2147483820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1322484802" sldId="2147483820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1322484802" sldId="2147483820"/>
              <ac:spMk id="2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1322484802" sldId="2147483820"/>
              <ac:spMk id="3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1322484802" sldId="2147483820"/>
              <ac:spMk id="37" creationId="{00000000-0000-0000-0000-000000000000}"/>
            </ac:spMkLst>
          </pc:sp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1896801691" sldId="2147483797"/>
              <pc:sldLayoutMk cId="1322484802" sldId="2147483820"/>
              <ac:picMk id="2" creationId="{00000000-0000-0000-0000-000000000000}"/>
            </ac:picMkLst>
          </pc:pic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1896801691" sldId="2147483797"/>
            <pc:sldLayoutMk cId="4086732122" sldId="2147483821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4086732122" sldId="2147483821"/>
              <ac:spMk id="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4086732122" sldId="2147483821"/>
              <ac:spMk id="8" creationId="{00000000-0000-0000-0000-000000000000}"/>
            </ac:spMkLst>
          </pc:sp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1896801691" sldId="2147483797"/>
              <pc:sldLayoutMk cId="4086732122" sldId="2147483821"/>
              <ac:picMk id="5" creationId="{00000000-0000-0000-0000-000000000000}"/>
            </ac:picMkLst>
          </pc:pic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1896801691" sldId="2147483797"/>
            <pc:sldLayoutMk cId="2027810822" sldId="2147483822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027810822" sldId="2147483822"/>
              <ac:spMk id="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027810822" sldId="2147483822"/>
              <ac:spMk id="8" creationId="{00000000-0000-0000-0000-000000000000}"/>
            </ac:spMkLst>
          </pc:sp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1896801691" sldId="2147483797"/>
              <pc:sldLayoutMk cId="2027810822" sldId="2147483822"/>
              <ac:picMk id="5" creationId="{00000000-0000-0000-0000-000000000000}"/>
            </ac:picMkLst>
          </pc:pic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1896801691" sldId="2147483797"/>
            <pc:sldLayoutMk cId="1513510047" sldId="2147483823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1513510047" sldId="2147483823"/>
              <ac:spMk id="3" creationId="{00000000-0000-0000-0000-000000000000}"/>
            </ac:spMkLst>
          </pc:sp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1896801691" sldId="2147483797"/>
              <pc:sldLayoutMk cId="1513510047" sldId="2147483823"/>
              <ac:picMk id="10" creationId="{00000000-0000-0000-0000-000000000000}"/>
            </ac:picMkLst>
          </pc:pic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1896801691" sldId="2147483797"/>
            <pc:sldLayoutMk cId="2051457727" sldId="2147483824"/>
          </pc:sldLayoutMkLst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1896801691" sldId="2147483797"/>
              <pc:sldLayoutMk cId="2051457727" sldId="2147483824"/>
              <ac:picMk id="6" creationId="{00000000-0000-0000-0000-000000000000}"/>
            </ac:picMkLst>
          </pc:pic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1896801691" sldId="2147483797"/>
            <pc:sldLayoutMk cId="2615248959" sldId="2147483825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615248959" sldId="2147483825"/>
              <ac:spMk id="4" creationId="{D1AFA9E9-5EB8-42BF-B15A-3D95DDA547A4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615248959" sldId="2147483825"/>
              <ac:spMk id="5" creationId="{C3F5B0ED-A4CB-4D19-B6B8-CA9E1139E702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1896801691" sldId="2147483797"/>
              <pc:sldLayoutMk cId="2615248959" sldId="2147483825"/>
              <ac:spMk id="6" creationId="{CC227EEF-EF55-41C1-A3DC-AF43AADB19B1}"/>
            </ac:spMkLst>
          </pc:spChg>
        </pc:sldLayoutChg>
      </pc:sldMasterChg>
      <pc:sldMasterChg chg="modSp modSldLayout">
        <pc:chgData name="Virginie PONCET" userId="ebcd993a-a2ce-4546-82a8-b8fa2d7b77e1" providerId="ADAL" clId="{E5B7E8CE-123C-4CA0-9A8C-CD46EC48866B}" dt="2023-10-20T07:04:55.744" v="695"/>
        <pc:sldMasterMkLst>
          <pc:docMk/>
          <pc:sldMasterMk cId="485750385" sldId="2147483826"/>
        </pc:sldMasterMkLst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asterMk cId="485750385" sldId="2147483826"/>
            <ac:spMk id="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asterMk cId="485750385" sldId="2147483826"/>
            <ac:spMk id="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asterMk cId="485750385" sldId="2147483826"/>
            <ac:spMk id="8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asterMk cId="485750385" sldId="2147483826"/>
            <ac:spMk id="10" creationId="{2EF862A3-1A8B-4D02-89F3-32AF06485E24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asterMk cId="485750385" sldId="2147483826"/>
            <ac:spMk id="13" creationId="{04F1BF72-CA9E-4A76-B0AA-EBA4F64349B8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asterMk cId="485750385" sldId="2147483826"/>
            <ac:spMk id="15" creationId="{911D5F6E-322A-490F-9DB1-97FA23DC2BD3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asterMk cId="485750385" sldId="2147483826"/>
            <ac:spMk id="16" creationId="{AA09D827-B326-43D8-AC70-0EAA32EC83D6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asterMk cId="485750385" sldId="2147483826"/>
            <ac:spMk id="17" creationId="{0B105B4D-2A75-4A75-A876-C088DB3B07F4}"/>
          </ac:spMkLst>
        </pc:spChg>
        <pc:graphicFrameChg chg="mod">
          <ac:chgData name="Virginie PONCET" userId="ebcd993a-a2ce-4546-82a8-b8fa2d7b77e1" providerId="ADAL" clId="{E5B7E8CE-123C-4CA0-9A8C-CD46EC48866B}" dt="2023-10-20T07:04:55.744" v="695"/>
          <ac:graphicFrameMkLst>
            <pc:docMk/>
            <pc:sldMasterMk cId="485750385" sldId="2147483826"/>
            <ac:graphicFrameMk id="5" creationId="{DB688D79-A0A7-4FA9-8C07-ABC9CA063BBD}"/>
          </ac:graphicFrameMkLst>
        </pc:graphicFrameChg>
        <pc:picChg chg="mod">
          <ac:chgData name="Virginie PONCET" userId="ebcd993a-a2ce-4546-82a8-b8fa2d7b77e1" providerId="ADAL" clId="{E5B7E8CE-123C-4CA0-9A8C-CD46EC48866B}" dt="2023-10-20T07:04:55.744" v="695"/>
          <ac:picMkLst>
            <pc:docMk/>
            <pc:sldMasterMk cId="485750385" sldId="2147483826"/>
            <ac:picMk id="9" creationId="{00000000-0000-0000-0000-000000000000}"/>
          </ac:picMkLst>
        </pc:picChg>
        <pc:picChg chg="mod">
          <ac:chgData name="Virginie PONCET" userId="ebcd993a-a2ce-4546-82a8-b8fa2d7b77e1" providerId="ADAL" clId="{E5B7E8CE-123C-4CA0-9A8C-CD46EC48866B}" dt="2023-10-20T07:04:55.744" v="695"/>
          <ac:picMkLst>
            <pc:docMk/>
            <pc:sldMasterMk cId="485750385" sldId="2147483826"/>
            <ac:picMk id="11" creationId="{00000000-0000-0000-0000-000000000000}"/>
          </ac:picMkLst>
        </pc:picChg>
        <pc:cxnChg chg="mod">
          <ac:chgData name="Virginie PONCET" userId="ebcd993a-a2ce-4546-82a8-b8fa2d7b77e1" providerId="ADAL" clId="{E5B7E8CE-123C-4CA0-9A8C-CD46EC48866B}" dt="2023-10-20T07:04:55.744" v="695"/>
          <ac:cxnSpMkLst>
            <pc:docMk/>
            <pc:sldMasterMk cId="485750385" sldId="2147483826"/>
            <ac:cxnSpMk id="14" creationId="{00000000-0000-0000-0000-000000000000}"/>
          </ac:cxnSpMkLst>
        </pc:cxn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485750385" sldId="2147483826"/>
            <pc:sldLayoutMk cId="1761574322" sldId="2147483827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761574322" sldId="2147483827"/>
              <ac:spMk id="2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761574322" sldId="2147483827"/>
              <ac:spMk id="2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761574322" sldId="2147483827"/>
              <ac:spMk id="29" creationId="{00000000-0000-0000-0000-000000000000}"/>
            </ac:spMkLst>
          </pc:sp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485750385" sldId="2147483826"/>
              <pc:sldLayoutMk cId="1761574322" sldId="2147483827"/>
              <ac:picMk id="9" creationId="{00000000-0000-0000-0000-000000000000}"/>
            </ac:picMkLst>
          </pc:pic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485750385" sldId="2147483826"/>
              <pc:sldLayoutMk cId="1761574322" sldId="2147483827"/>
              <ac:picMk id="15" creationId="{00000000-0000-0000-0000-000000000000}"/>
            </ac:picMkLst>
          </pc:pic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485750385" sldId="2147483826"/>
              <pc:sldLayoutMk cId="1761574322" sldId="2147483827"/>
              <ac:picMk id="16" creationId="{00000000-0000-0000-0000-000000000000}"/>
            </ac:picMkLst>
          </pc:pic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485750385" sldId="2147483826"/>
              <pc:sldLayoutMk cId="1761574322" sldId="2147483827"/>
              <ac:picMk id="17" creationId="{00000000-0000-0000-0000-000000000000}"/>
            </ac:picMkLst>
          </pc:pic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485750385" sldId="2147483826"/>
            <pc:sldLayoutMk cId="715169830" sldId="2147483828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715169830" sldId="2147483828"/>
              <ac:spMk id="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715169830" sldId="2147483828"/>
              <ac:spMk id="1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715169830" sldId="2147483828"/>
              <ac:spMk id="1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715169830" sldId="2147483828"/>
              <ac:spMk id="14" creationId="{00000000-0000-0000-0000-000000000000}"/>
            </ac:spMkLst>
          </pc:sp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485750385" sldId="2147483826"/>
              <pc:sldLayoutMk cId="715169830" sldId="2147483828"/>
              <ac:picMk id="8" creationId="{00000000-0000-0000-0000-000000000000}"/>
            </ac:picMkLst>
          </pc:pic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485750385" sldId="2147483826"/>
              <pc:sldLayoutMk cId="715169830" sldId="2147483828"/>
              <ac:picMk id="16" creationId="{00000000-0000-0000-0000-000000000000}"/>
            </ac:picMkLst>
          </pc:pic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485750385" sldId="2147483826"/>
            <pc:sldLayoutMk cId="909951959" sldId="2147483829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909951959" sldId="2147483829"/>
              <ac:spMk id="3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909951959" sldId="2147483829"/>
              <ac:spMk id="3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909951959" sldId="2147483829"/>
              <ac:spMk id="41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909951959" sldId="2147483829"/>
              <ac:spMk id="4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909951959" sldId="2147483829"/>
              <ac:spMk id="4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909951959" sldId="2147483829"/>
              <ac:spMk id="4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909951959" sldId="2147483829"/>
              <ac:spMk id="4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909951959" sldId="2147483829"/>
              <ac:spMk id="4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909951959" sldId="2147483829"/>
              <ac:spMk id="4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909951959" sldId="2147483829"/>
              <ac:spMk id="48" creationId="{00000000-0000-0000-0000-000000000000}"/>
            </ac:spMkLst>
          </pc:sp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485750385" sldId="2147483826"/>
              <pc:sldLayoutMk cId="909951959" sldId="2147483829"/>
              <ac:picMk id="52" creationId="{00000000-0000-0000-0000-000000000000}"/>
            </ac:picMkLst>
          </pc:pic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485750385" sldId="2147483826"/>
            <pc:sldLayoutMk cId="3557528796" sldId="2147483830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3557528796" sldId="2147483830"/>
              <ac:spMk id="1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3557528796" sldId="2147483830"/>
              <ac:spMk id="1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3557528796" sldId="2147483830"/>
              <ac:spMk id="1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3557528796" sldId="2147483830"/>
              <ac:spMk id="1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3557528796" sldId="2147483830"/>
              <ac:spMk id="1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3557528796" sldId="2147483830"/>
              <ac:spMk id="1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3557528796" sldId="2147483830"/>
              <ac:spMk id="19" creationId="{00000000-0000-0000-0000-000000000000}"/>
            </ac:spMkLst>
          </pc:spChg>
          <pc:grpChg chg="mod">
            <ac:chgData name="Virginie PONCET" userId="ebcd993a-a2ce-4546-82a8-b8fa2d7b77e1" providerId="ADAL" clId="{E5B7E8CE-123C-4CA0-9A8C-CD46EC48866B}" dt="2023-10-20T07:04:55.744" v="695"/>
            <ac:grpSpMkLst>
              <pc:docMk/>
              <pc:sldMasterMk cId="485750385" sldId="2147483826"/>
              <pc:sldLayoutMk cId="3557528796" sldId="2147483830"/>
              <ac:grpSpMk id="11" creationId="{00000000-0000-0000-0000-000000000000}"/>
            </ac:grpSpMkLst>
          </pc:grp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485750385" sldId="2147483826"/>
              <pc:sldLayoutMk cId="3557528796" sldId="2147483830"/>
              <ac:picMk id="18" creationId="{00000000-0000-0000-0000-000000000000}"/>
            </ac:picMkLst>
          </pc:pic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485750385" sldId="2147483826"/>
              <pc:sldLayoutMk cId="3557528796" sldId="2147483830"/>
              <ac:cxnSpMk id="21" creationId="{00000000-0000-0000-0000-000000000000}"/>
            </ac:cxnSpMkLst>
          </pc:cxn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485750385" sldId="2147483826"/>
            <pc:sldLayoutMk cId="2302451906" sldId="2147483831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2302451906" sldId="2147483831"/>
              <ac:spMk id="1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2302451906" sldId="2147483831"/>
              <ac:spMk id="1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2302451906" sldId="2147483831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2302451906" sldId="2147483831"/>
              <ac:spMk id="1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2302451906" sldId="2147483831"/>
              <ac:spMk id="1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2302451906" sldId="2147483831"/>
              <ac:spMk id="1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2302451906" sldId="2147483831"/>
              <ac:spMk id="20" creationId="{00000000-0000-0000-0000-000000000000}"/>
            </ac:spMkLst>
          </pc:spChg>
          <pc:grpChg chg="mod">
            <ac:chgData name="Virginie PONCET" userId="ebcd993a-a2ce-4546-82a8-b8fa2d7b77e1" providerId="ADAL" clId="{E5B7E8CE-123C-4CA0-9A8C-CD46EC48866B}" dt="2023-10-20T07:04:55.744" v="695"/>
            <ac:grpSpMkLst>
              <pc:docMk/>
              <pc:sldMasterMk cId="485750385" sldId="2147483826"/>
              <pc:sldLayoutMk cId="2302451906" sldId="2147483831"/>
              <ac:grpSpMk id="12" creationId="{00000000-0000-0000-0000-000000000000}"/>
            </ac:grpSpMkLst>
          </pc:grp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485750385" sldId="2147483826"/>
              <pc:sldLayoutMk cId="2302451906" sldId="2147483831"/>
              <ac:picMk id="17" creationId="{00000000-0000-0000-0000-000000000000}"/>
            </ac:picMkLst>
          </pc:pic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485750385" sldId="2147483826"/>
              <pc:sldLayoutMk cId="2302451906" sldId="2147483831"/>
              <ac:cxnSpMk id="19" creationId="{00000000-0000-0000-0000-000000000000}"/>
            </ac:cxnSpMkLst>
          </pc:cxn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485750385" sldId="2147483826"/>
            <pc:sldLayoutMk cId="3847442140" sldId="2147483832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3847442140" sldId="2147483832"/>
              <ac:spMk id="3" creationId="{00000000-0000-0000-0000-000000000000}"/>
            </ac:spMkLst>
          </pc:sp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485750385" sldId="2147483826"/>
            <pc:sldLayoutMk cId="284964" sldId="2147483833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284964" sldId="2147483833"/>
              <ac:spMk id="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284964" sldId="2147483833"/>
              <ac:spMk id="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284964" sldId="2147483833"/>
              <ac:spMk id="1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284964" sldId="2147483833"/>
              <ac:spMk id="11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284964" sldId="2147483833"/>
              <ac:spMk id="12" creationId="{00000000-0000-0000-0000-000000000000}"/>
            </ac:spMkLst>
          </pc:sp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485750385" sldId="2147483826"/>
            <pc:sldLayoutMk cId="1756712625" sldId="2147483834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756712625" sldId="2147483834"/>
              <ac:spMk id="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756712625" sldId="2147483834"/>
              <ac:spMk id="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756712625" sldId="2147483834"/>
              <ac:spMk id="1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756712625" sldId="2147483834"/>
              <ac:spMk id="11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756712625" sldId="2147483834"/>
              <ac:spMk id="1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756712625" sldId="2147483834"/>
              <ac:spMk id="15" creationId="{00000000-0000-0000-0000-000000000000}"/>
            </ac:spMkLst>
          </pc:sp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485750385" sldId="2147483826"/>
            <pc:sldLayoutMk cId="4148151924" sldId="2147483835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4148151924" sldId="2147483835"/>
              <ac:spMk id="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4148151924" sldId="2147483835"/>
              <ac:spMk id="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4148151924" sldId="2147483835"/>
              <ac:spMk id="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4148151924" sldId="2147483835"/>
              <ac:spMk id="1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4148151924" sldId="2147483835"/>
              <ac:spMk id="11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4148151924" sldId="2147483835"/>
              <ac:spMk id="12" creationId="{00000000-0000-0000-0000-000000000000}"/>
            </ac:spMkLst>
          </pc:sp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485750385" sldId="2147483826"/>
            <pc:sldLayoutMk cId="368261755" sldId="2147483836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368261755" sldId="2147483836"/>
              <ac:spMk id="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368261755" sldId="2147483836"/>
              <ac:spMk id="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368261755" sldId="2147483836"/>
              <ac:spMk id="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368261755" sldId="2147483836"/>
              <ac:spMk id="1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368261755" sldId="2147483836"/>
              <ac:spMk id="11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368261755" sldId="2147483836"/>
              <ac:spMk id="1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368261755" sldId="2147483836"/>
              <ac:spMk id="13" creationId="{00000000-0000-0000-0000-000000000000}"/>
            </ac:spMkLst>
          </pc:sp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485750385" sldId="2147483826"/>
              <pc:sldLayoutMk cId="368261755" sldId="2147483836"/>
              <ac:cxnSpMk id="15" creationId="{00000000-0000-0000-0000-000000000000}"/>
            </ac:cxnSpMkLst>
          </pc:cxn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485750385" sldId="2147483826"/>
            <pc:sldLayoutMk cId="4255007320" sldId="2147483837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4255007320" sldId="2147483837"/>
              <ac:spMk id="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4255007320" sldId="2147483837"/>
              <ac:spMk id="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4255007320" sldId="2147483837"/>
              <ac:spMk id="1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4255007320" sldId="2147483837"/>
              <ac:spMk id="11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4255007320" sldId="2147483837"/>
              <ac:spMk id="1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4255007320" sldId="2147483837"/>
              <ac:spMk id="1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4255007320" sldId="2147483837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4255007320" sldId="2147483837"/>
              <ac:spMk id="17" creationId="{00000000-0000-0000-0000-000000000000}"/>
            </ac:spMkLst>
          </pc:sp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485750385" sldId="2147483826"/>
              <pc:sldLayoutMk cId="4255007320" sldId="2147483837"/>
              <ac:cxnSpMk id="15" creationId="{00000000-0000-0000-0000-000000000000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485750385" sldId="2147483826"/>
              <pc:sldLayoutMk cId="4255007320" sldId="2147483837"/>
              <ac:cxnSpMk id="16" creationId="{00000000-0000-0000-0000-000000000000}"/>
            </ac:cxnSpMkLst>
          </pc:cxn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485750385" sldId="2147483826"/>
            <pc:sldLayoutMk cId="3164719773" sldId="2147483838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3164719773" sldId="2147483838"/>
              <ac:spMk id="9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3164719773" sldId="2147483838"/>
              <ac:spMk id="1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3164719773" sldId="2147483838"/>
              <ac:spMk id="11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3164719773" sldId="2147483838"/>
              <ac:spMk id="1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3164719773" sldId="2147483838"/>
              <ac:spMk id="1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3164719773" sldId="2147483838"/>
              <ac:spMk id="14" creationId="{00000000-0000-0000-0000-000000000000}"/>
            </ac:spMkLst>
          </pc:sp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485750385" sldId="2147483826"/>
              <pc:sldLayoutMk cId="3164719773" sldId="2147483838"/>
              <ac:cxnSpMk id="16" creationId="{00000000-0000-0000-0000-000000000000}"/>
            </ac:cxnSpMkLst>
          </pc:cxn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485750385" sldId="2147483826"/>
            <pc:sldLayoutMk cId="875787536" sldId="2147483839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875787536" sldId="2147483839"/>
              <ac:spMk id="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875787536" sldId="2147483839"/>
              <ac:spMk id="1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875787536" sldId="2147483839"/>
              <ac:spMk id="1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875787536" sldId="2147483839"/>
              <ac:spMk id="14" creationId="{00000000-0000-0000-0000-000000000000}"/>
            </ac:spMkLst>
          </pc:sp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485750385" sldId="2147483826"/>
            <pc:sldLayoutMk cId="1495591130" sldId="2147483840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495591130" sldId="2147483840"/>
              <ac:spMk id="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495591130" sldId="2147483840"/>
              <ac:spMk id="1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495591130" sldId="2147483840"/>
              <ac:spMk id="1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495591130" sldId="2147483840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495591130" sldId="2147483840"/>
              <ac:spMk id="1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495591130" sldId="2147483840"/>
              <ac:spMk id="18" creationId="{00000000-0000-0000-0000-000000000000}"/>
            </ac:spMkLst>
          </pc:sp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485750385" sldId="2147483826"/>
            <pc:sldLayoutMk cId="1928774173" sldId="2147483841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928774173" sldId="2147483841"/>
              <ac:spMk id="1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928774173" sldId="2147483841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928774173" sldId="2147483841"/>
              <ac:spMk id="1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928774173" sldId="2147483841"/>
              <ac:spMk id="1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928774173" sldId="2147483841"/>
              <ac:spMk id="19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928774173" sldId="2147483841"/>
              <ac:spMk id="2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928774173" sldId="2147483841"/>
              <ac:spMk id="2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928774173" sldId="2147483841"/>
              <ac:spMk id="2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928774173" sldId="2147483841"/>
              <ac:spMk id="2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928774173" sldId="2147483841"/>
              <ac:spMk id="2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928774173" sldId="2147483841"/>
              <ac:spMk id="29" creationId="{00000000-0000-0000-0000-000000000000}"/>
            </ac:spMkLst>
          </pc:sp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485750385" sldId="2147483826"/>
            <pc:sldLayoutMk cId="221124388" sldId="2147483842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221124388" sldId="2147483842"/>
              <ac:spMk id="1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221124388" sldId="2147483842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221124388" sldId="2147483842"/>
              <ac:spMk id="1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221124388" sldId="2147483842"/>
              <ac:spMk id="1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221124388" sldId="2147483842"/>
              <ac:spMk id="19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221124388" sldId="2147483842"/>
              <ac:spMk id="2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221124388" sldId="2147483842"/>
              <ac:spMk id="2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221124388" sldId="2147483842"/>
              <ac:spMk id="2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221124388" sldId="2147483842"/>
              <ac:spMk id="2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221124388" sldId="2147483842"/>
              <ac:spMk id="2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221124388" sldId="2147483842"/>
              <ac:spMk id="29" creationId="{00000000-0000-0000-0000-000000000000}"/>
            </ac:spMkLst>
          </pc:sp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485750385" sldId="2147483826"/>
            <pc:sldLayoutMk cId="1525670119" sldId="2147483843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525670119" sldId="2147483843"/>
              <ac:spMk id="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525670119" sldId="2147483843"/>
              <ac:spMk id="1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525670119" sldId="2147483843"/>
              <ac:spMk id="1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525670119" sldId="2147483843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525670119" sldId="2147483843"/>
              <ac:spMk id="1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525670119" sldId="2147483843"/>
              <ac:spMk id="1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525670119" sldId="2147483843"/>
              <ac:spMk id="1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525670119" sldId="2147483843"/>
              <ac:spMk id="19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525670119" sldId="2147483843"/>
              <ac:spMk id="2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525670119" sldId="2147483843"/>
              <ac:spMk id="21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525670119" sldId="2147483843"/>
              <ac:spMk id="2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525670119" sldId="2147483843"/>
              <ac:spMk id="3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525670119" sldId="2147483843"/>
              <ac:spMk id="3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525670119" sldId="2147483843"/>
              <ac:spMk id="5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525670119" sldId="2147483843"/>
              <ac:spMk id="5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525670119" sldId="2147483843"/>
              <ac:spMk id="5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525670119" sldId="2147483843"/>
              <ac:spMk id="5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525670119" sldId="2147483843"/>
              <ac:spMk id="5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525670119" sldId="2147483843"/>
              <ac:spMk id="5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525670119" sldId="2147483843"/>
              <ac:spMk id="5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525670119" sldId="2147483843"/>
              <ac:spMk id="58" creationId="{00000000-0000-0000-0000-000000000000}"/>
            </ac:spMkLst>
          </pc:sp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485750385" sldId="2147483826"/>
            <pc:sldLayoutMk cId="2934385863" sldId="2147483844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2934385863" sldId="2147483844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2934385863" sldId="2147483844"/>
              <ac:spMk id="1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2934385863" sldId="2147483844"/>
              <ac:spMk id="2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2934385863" sldId="2147483844"/>
              <ac:spMk id="2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2934385863" sldId="2147483844"/>
              <ac:spMk id="2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2934385863" sldId="2147483844"/>
              <ac:spMk id="2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2934385863" sldId="2147483844"/>
              <ac:spMk id="29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2934385863" sldId="2147483844"/>
              <ac:spMk id="3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2934385863" sldId="2147483844"/>
              <ac:spMk id="3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2934385863" sldId="2147483844"/>
              <ac:spMk id="3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2934385863" sldId="2147483844"/>
              <ac:spMk id="39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2934385863" sldId="2147483844"/>
              <ac:spMk id="4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2934385863" sldId="2147483844"/>
              <ac:spMk id="41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2934385863" sldId="2147483844"/>
              <ac:spMk id="5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2934385863" sldId="2147483844"/>
              <ac:spMk id="51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2934385863" sldId="2147483844"/>
              <ac:spMk id="5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2934385863" sldId="2147483844"/>
              <ac:spMk id="5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2934385863" sldId="2147483844"/>
              <ac:spMk id="5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2934385863" sldId="2147483844"/>
              <ac:spMk id="5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2934385863" sldId="2147483844"/>
              <ac:spMk id="5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2934385863" sldId="2147483844"/>
              <ac:spMk id="57" creationId="{00000000-0000-0000-0000-000000000000}"/>
            </ac:spMkLst>
          </pc:sp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485750385" sldId="2147483826"/>
            <pc:sldLayoutMk cId="1378458115" sldId="2147483845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378458115" sldId="2147483845"/>
              <ac:spMk id="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378458115" sldId="2147483845"/>
              <ac:spMk id="1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378458115" sldId="2147483845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378458115" sldId="2147483845"/>
              <ac:spMk id="1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378458115" sldId="2147483845"/>
              <ac:spMk id="19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378458115" sldId="2147483845"/>
              <ac:spMk id="2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378458115" sldId="2147483845"/>
              <ac:spMk id="2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378458115" sldId="2147483845"/>
              <ac:spMk id="2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378458115" sldId="2147483845"/>
              <ac:spMk id="2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378458115" sldId="2147483845"/>
              <ac:spMk id="2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378458115" sldId="2147483845"/>
              <ac:spMk id="3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378458115" sldId="2147483845"/>
              <ac:spMk id="3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378458115" sldId="2147483845"/>
              <ac:spMk id="3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378458115" sldId="2147483845"/>
              <ac:spMk id="3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378458115" sldId="2147483845"/>
              <ac:spMk id="40" creationId="{00000000-0000-0000-0000-000000000000}"/>
            </ac:spMkLst>
          </pc:sp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485750385" sldId="2147483826"/>
              <pc:sldLayoutMk cId="1378458115" sldId="2147483845"/>
              <ac:cxnSpMk id="4" creationId="{00000000-0000-0000-0000-000000000000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485750385" sldId="2147483826"/>
              <pc:sldLayoutMk cId="1378458115" sldId="2147483845"/>
              <ac:cxnSpMk id="25" creationId="{00000000-0000-0000-0000-000000000000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485750385" sldId="2147483826"/>
              <pc:sldLayoutMk cId="1378458115" sldId="2147483845"/>
              <ac:cxnSpMk id="28" creationId="{00000000-0000-0000-0000-000000000000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485750385" sldId="2147483826"/>
              <pc:sldLayoutMk cId="1378458115" sldId="2147483845"/>
              <ac:cxnSpMk id="38" creationId="{00000000-0000-0000-0000-000000000000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485750385" sldId="2147483826"/>
              <pc:sldLayoutMk cId="1378458115" sldId="2147483845"/>
              <ac:cxnSpMk id="39" creationId="{00000000-0000-0000-0000-000000000000}"/>
            </ac:cxnSpMkLst>
          </pc:cxn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485750385" sldId="2147483826"/>
            <pc:sldLayoutMk cId="942878142" sldId="2147483846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942878142" sldId="2147483846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942878142" sldId="2147483846"/>
              <ac:spMk id="2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942878142" sldId="2147483846"/>
              <ac:spMk id="3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942878142" sldId="2147483846"/>
              <ac:spMk id="3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942878142" sldId="2147483846"/>
              <ac:spMk id="3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942878142" sldId="2147483846"/>
              <ac:spMk id="4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942878142" sldId="2147483846"/>
              <ac:spMk id="41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942878142" sldId="2147483846"/>
              <ac:spMk id="4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942878142" sldId="2147483846"/>
              <ac:spMk id="4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942878142" sldId="2147483846"/>
              <ac:spMk id="4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942878142" sldId="2147483846"/>
              <ac:spMk id="4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942878142" sldId="2147483846"/>
              <ac:spMk id="4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942878142" sldId="2147483846"/>
              <ac:spMk id="4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942878142" sldId="2147483846"/>
              <ac:spMk id="48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942878142" sldId="2147483846"/>
              <ac:spMk id="49" creationId="{00000000-0000-0000-0000-000000000000}"/>
            </ac:spMkLst>
          </pc:sp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485750385" sldId="2147483826"/>
              <pc:sldLayoutMk cId="942878142" sldId="2147483846"/>
              <ac:cxnSpMk id="23" creationId="{00000000-0000-0000-0000-000000000000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485750385" sldId="2147483826"/>
              <pc:sldLayoutMk cId="942878142" sldId="2147483846"/>
              <ac:cxnSpMk id="24" creationId="{00000000-0000-0000-0000-000000000000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485750385" sldId="2147483826"/>
              <pc:sldLayoutMk cId="942878142" sldId="2147483846"/>
              <ac:cxnSpMk id="27" creationId="{00000000-0000-0000-0000-000000000000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485750385" sldId="2147483826"/>
              <pc:sldLayoutMk cId="942878142" sldId="2147483846"/>
              <ac:cxnSpMk id="29" creationId="{00000000-0000-0000-0000-000000000000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485750385" sldId="2147483826"/>
              <pc:sldLayoutMk cId="942878142" sldId="2147483846"/>
              <ac:cxnSpMk id="30" creationId="{00000000-0000-0000-0000-000000000000}"/>
            </ac:cxnSpMkLst>
          </pc:cxn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485750385" sldId="2147483826"/>
            <pc:sldLayoutMk cId="3200379060" sldId="2147483847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3200379060" sldId="2147483847"/>
              <ac:spMk id="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3200379060" sldId="2147483847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3200379060" sldId="2147483847"/>
              <ac:spMk id="2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3200379060" sldId="2147483847"/>
              <ac:spMk id="2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3200379060" sldId="2147483847"/>
              <ac:spMk id="29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3200379060" sldId="2147483847"/>
              <ac:spMk id="3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3200379060" sldId="2147483847"/>
              <ac:spMk id="35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3200379060" sldId="2147483847"/>
              <ac:spMk id="3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3200379060" sldId="2147483847"/>
              <ac:spMk id="37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3200379060" sldId="2147483847"/>
              <ac:spMk id="40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3200379060" sldId="2147483847"/>
              <ac:spMk id="4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3200379060" sldId="2147483847"/>
              <ac:spMk id="4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3200379060" sldId="2147483847"/>
              <ac:spMk id="45" creationId="{00000000-0000-0000-0000-000000000000}"/>
            </ac:spMkLst>
          </pc:sp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485750385" sldId="2147483826"/>
              <pc:sldLayoutMk cId="3200379060" sldId="2147483847"/>
              <ac:cxnSpMk id="4" creationId="{00000000-0000-0000-0000-000000000000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485750385" sldId="2147483826"/>
              <pc:sldLayoutMk cId="3200379060" sldId="2147483847"/>
              <ac:cxnSpMk id="24" creationId="{00000000-0000-0000-0000-000000000000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485750385" sldId="2147483826"/>
              <pc:sldLayoutMk cId="3200379060" sldId="2147483847"/>
              <ac:cxnSpMk id="41" creationId="{00000000-0000-0000-0000-000000000000}"/>
            </ac:cxnSpMkLst>
          </pc:cxnChg>
          <pc:cxnChg chg="mod">
            <ac:chgData name="Virginie PONCET" userId="ebcd993a-a2ce-4546-82a8-b8fa2d7b77e1" providerId="ADAL" clId="{E5B7E8CE-123C-4CA0-9A8C-CD46EC48866B}" dt="2023-10-20T07:04:55.744" v="695"/>
            <ac:cxnSpMkLst>
              <pc:docMk/>
              <pc:sldMasterMk cId="485750385" sldId="2147483826"/>
              <pc:sldLayoutMk cId="3200379060" sldId="2147483847"/>
              <ac:cxnSpMk id="42" creationId="{00000000-0000-0000-0000-000000000000}"/>
            </ac:cxnSpMkLst>
          </pc:cxn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485750385" sldId="2147483826"/>
            <pc:sldLayoutMk cId="1550639428" sldId="2147483848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550639428" sldId="2147483848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550639428" sldId="2147483848"/>
              <ac:spMk id="2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550639428" sldId="2147483848"/>
              <ac:spMk id="3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550639428" sldId="2147483848"/>
              <ac:spMk id="37" creationId="{00000000-0000-0000-0000-000000000000}"/>
            </ac:spMkLst>
          </pc:sp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485750385" sldId="2147483826"/>
              <pc:sldLayoutMk cId="1550639428" sldId="2147483848"/>
              <ac:picMk id="3" creationId="{00000000-0000-0000-0000-000000000000}"/>
            </ac:picMkLst>
          </pc:pic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485750385" sldId="2147483826"/>
            <pc:sldLayoutMk cId="1082127757" sldId="2147483849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082127757" sldId="2147483849"/>
              <ac:spMk id="14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082127757" sldId="2147483849"/>
              <ac:spMk id="2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082127757" sldId="2147483849"/>
              <ac:spMk id="36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082127757" sldId="2147483849"/>
              <ac:spMk id="37" creationId="{00000000-0000-0000-0000-000000000000}"/>
            </ac:spMkLst>
          </pc:sp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485750385" sldId="2147483826"/>
              <pc:sldLayoutMk cId="1082127757" sldId="2147483849"/>
              <ac:picMk id="2" creationId="{00000000-0000-0000-0000-000000000000}"/>
            </ac:picMkLst>
          </pc:pic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485750385" sldId="2147483826"/>
            <pc:sldLayoutMk cId="1614437128" sldId="2147483850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614437128" sldId="2147483850"/>
              <ac:spMk id="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614437128" sldId="2147483850"/>
              <ac:spMk id="8" creationId="{00000000-0000-0000-0000-000000000000}"/>
            </ac:spMkLst>
          </pc:sp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485750385" sldId="2147483826"/>
              <pc:sldLayoutMk cId="1614437128" sldId="2147483850"/>
              <ac:picMk id="5" creationId="{00000000-0000-0000-0000-000000000000}"/>
            </ac:picMkLst>
          </pc:pic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485750385" sldId="2147483826"/>
            <pc:sldLayoutMk cId="1223919731" sldId="2147483851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1223919731" sldId="2147483851"/>
              <ac:spMk id="3" creationId="{00000000-0000-0000-0000-000000000000}"/>
            </ac:spMkLst>
          </pc:spChg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485750385" sldId="2147483826"/>
              <pc:sldLayoutMk cId="1223919731" sldId="2147483851"/>
              <ac:picMk id="10" creationId="{00000000-0000-0000-0000-000000000000}"/>
            </ac:picMkLst>
          </pc:pic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485750385" sldId="2147483826"/>
            <pc:sldLayoutMk cId="1106637274" sldId="2147483852"/>
          </pc:sldLayoutMkLst>
          <pc:picChg chg="mod">
            <ac:chgData name="Virginie PONCET" userId="ebcd993a-a2ce-4546-82a8-b8fa2d7b77e1" providerId="ADAL" clId="{E5B7E8CE-123C-4CA0-9A8C-CD46EC48866B}" dt="2023-10-20T07:04:55.744" v="695"/>
            <ac:picMkLst>
              <pc:docMk/>
              <pc:sldMasterMk cId="485750385" sldId="2147483826"/>
              <pc:sldLayoutMk cId="1106637274" sldId="2147483852"/>
              <ac:picMk id="6" creationId="{00000000-0000-0000-0000-000000000000}"/>
            </ac:picMkLst>
          </pc:picChg>
        </pc:sldLayoutChg>
        <pc:sldLayoutChg chg="modSp">
          <pc:chgData name="Virginie PONCET" userId="ebcd993a-a2ce-4546-82a8-b8fa2d7b77e1" providerId="ADAL" clId="{E5B7E8CE-123C-4CA0-9A8C-CD46EC48866B}" dt="2023-10-20T07:04:55.744" v="695"/>
          <pc:sldLayoutMkLst>
            <pc:docMk/>
            <pc:sldMasterMk cId="485750385" sldId="2147483826"/>
            <pc:sldLayoutMk cId="2094857040" sldId="2147483853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2094857040" sldId="2147483853"/>
              <ac:spMk id="4" creationId="{D1AFA9E9-5EB8-42BF-B15A-3D95DDA547A4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2094857040" sldId="2147483853"/>
              <ac:spMk id="5" creationId="{C3F5B0ED-A4CB-4D19-B6B8-CA9E1139E702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485750385" sldId="2147483826"/>
              <pc:sldLayoutMk cId="2094857040" sldId="2147483853"/>
              <ac:spMk id="6" creationId="{CC227EEF-EF55-41C1-A3DC-AF43AADB19B1}"/>
            </ac:spMkLst>
          </pc:spChg>
        </pc:sldLayoutChg>
      </pc:sldMasterChg>
      <pc:sldMasterChg chg="modSp del delSldLayout modSldLayout">
        <pc:chgData name="Virginie PONCET" userId="ebcd993a-a2ce-4546-82a8-b8fa2d7b77e1" providerId="ADAL" clId="{E5B7E8CE-123C-4CA0-9A8C-CD46EC48866B}" dt="2023-10-20T07:38:25.810" v="1968" actId="47"/>
        <pc:sldMasterMkLst>
          <pc:docMk/>
          <pc:sldMasterMk cId="3055297256" sldId="2147483854"/>
        </pc:sldMasterMkLst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asterMk cId="3055297256" sldId="2147483854"/>
            <ac:spMk id="2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asterMk cId="3055297256" sldId="2147483854"/>
            <ac:spMk id="3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asterMk cId="3055297256" sldId="2147483854"/>
            <ac:spMk id="4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asterMk cId="3055297256" sldId="2147483854"/>
            <ac:spMk id="5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asterMk cId="3055297256" sldId="2147483854"/>
            <ac:spMk id="6" creationId="{00000000-0000-0000-0000-000000000000}"/>
          </ac:spMkLst>
        </pc:spChg>
        <pc:spChg chg="mod">
          <ac:chgData name="Virginie PONCET" userId="ebcd993a-a2ce-4546-82a8-b8fa2d7b77e1" providerId="ADAL" clId="{E5B7E8CE-123C-4CA0-9A8C-CD46EC48866B}" dt="2023-10-20T07:04:55.744" v="695"/>
          <ac:spMkLst>
            <pc:docMk/>
            <pc:sldMasterMk cId="3055297256" sldId="2147483854"/>
            <ac:spMk id="16" creationId="{00000000-0000-0000-0000-000000000000}"/>
          </ac:spMkLst>
        </pc:spChg>
        <pc:sldLayoutChg chg="modSp del">
          <pc:chgData name="Virginie PONCET" userId="ebcd993a-a2ce-4546-82a8-b8fa2d7b77e1" providerId="ADAL" clId="{E5B7E8CE-123C-4CA0-9A8C-CD46EC48866B}" dt="2023-10-20T07:38:25.810" v="1968" actId="47"/>
          <pc:sldLayoutMkLst>
            <pc:docMk/>
            <pc:sldMasterMk cId="3055297256" sldId="2147483854"/>
            <pc:sldLayoutMk cId="2000103877" sldId="2147483855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3055297256" sldId="2147483854"/>
              <pc:sldLayoutMk cId="2000103877" sldId="2147483855"/>
              <ac:spMk id="2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3055297256" sldId="2147483854"/>
              <pc:sldLayoutMk cId="2000103877" sldId="2147483855"/>
              <ac:spMk id="3" creationId="{00000000-0000-0000-0000-000000000000}"/>
            </ac:spMkLst>
          </pc:spChg>
        </pc:sldLayoutChg>
        <pc:sldLayoutChg chg="del">
          <pc:chgData name="Virginie PONCET" userId="ebcd993a-a2ce-4546-82a8-b8fa2d7b77e1" providerId="ADAL" clId="{E5B7E8CE-123C-4CA0-9A8C-CD46EC48866B}" dt="2023-10-20T07:38:25.810" v="1968" actId="47"/>
          <pc:sldLayoutMkLst>
            <pc:docMk/>
            <pc:sldMasterMk cId="3055297256" sldId="2147483854"/>
            <pc:sldLayoutMk cId="2823471204" sldId="2147483856"/>
          </pc:sldLayoutMkLst>
        </pc:sldLayoutChg>
        <pc:sldLayoutChg chg="modSp del">
          <pc:chgData name="Virginie PONCET" userId="ebcd993a-a2ce-4546-82a8-b8fa2d7b77e1" providerId="ADAL" clId="{E5B7E8CE-123C-4CA0-9A8C-CD46EC48866B}" dt="2023-10-20T07:38:25.810" v="1968" actId="47"/>
          <pc:sldLayoutMkLst>
            <pc:docMk/>
            <pc:sldMasterMk cId="3055297256" sldId="2147483854"/>
            <pc:sldLayoutMk cId="1700779574" sldId="2147483857"/>
          </pc:sldLayoutMkLst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3055297256" sldId="2147483854"/>
              <pc:sldLayoutMk cId="1700779574" sldId="2147483857"/>
              <ac:spMk id="3" creationId="{00000000-0000-0000-0000-000000000000}"/>
            </ac:spMkLst>
          </pc:spChg>
          <pc:spChg chg="mod">
            <ac:chgData name="Virginie PONCET" userId="ebcd993a-a2ce-4546-82a8-b8fa2d7b77e1" providerId="ADAL" clId="{E5B7E8CE-123C-4CA0-9A8C-CD46EC48866B}" dt="2023-10-20T07:04:55.744" v="695"/>
            <ac:spMkLst>
              <pc:docMk/>
              <pc:sldMasterMk cId="3055297256" sldId="2147483854"/>
              <pc:sldLayoutMk cId="1700779574" sldId="2147483857"/>
              <ac:spMk id="4" creationId="{00000000-0000-0000-0000-000000000000}"/>
            </ac:spMkLst>
          </pc:spChg>
        </pc:sldLayoutChg>
        <pc:sldLayoutChg chg="del">
          <pc:chgData name="Virginie PONCET" userId="ebcd993a-a2ce-4546-82a8-b8fa2d7b77e1" providerId="ADAL" clId="{E5B7E8CE-123C-4CA0-9A8C-CD46EC48866B}" dt="2023-10-20T07:38:25.810" v="1968" actId="47"/>
          <pc:sldLayoutMkLst>
            <pc:docMk/>
            <pc:sldMasterMk cId="3055297256" sldId="2147483854"/>
            <pc:sldLayoutMk cId="3114143925" sldId="2147483858"/>
          </pc:sldLayoutMkLst>
        </pc:sldLayoutChg>
        <pc:sldLayoutChg chg="del">
          <pc:chgData name="Virginie PONCET" userId="ebcd993a-a2ce-4546-82a8-b8fa2d7b77e1" providerId="ADAL" clId="{E5B7E8CE-123C-4CA0-9A8C-CD46EC48866B}" dt="2023-10-20T07:38:25.810" v="1968" actId="47"/>
          <pc:sldLayoutMkLst>
            <pc:docMk/>
            <pc:sldMasterMk cId="3055297256" sldId="2147483854"/>
            <pc:sldLayoutMk cId="249940046" sldId="2147483859"/>
          </pc:sldLayoutMkLst>
        </pc:sldLayoutChg>
      </pc:sldMasterChg>
    </pc:docChg>
  </pc:docChgLst>
  <pc:docChgLst>
    <pc:chgData name="Isabelle LEBO" userId="S::ma4349@bpifrance.fr::f1c985e3-394e-48e8-9a67-d1528b48b78a" providerId="AD" clId="Web-{6BD3B74D-735F-4559-86EC-D092B78FBA15}"/>
    <pc:docChg chg="modSld">
      <pc:chgData name="Isabelle LEBO" userId="S::ma4349@bpifrance.fr::f1c985e3-394e-48e8-9a67-d1528b48b78a" providerId="AD" clId="Web-{6BD3B74D-735F-4559-86EC-D092B78FBA15}" dt="2023-05-03T07:58:08.528" v="68"/>
      <pc:docMkLst>
        <pc:docMk/>
      </pc:docMkLst>
      <pc:sldChg chg="modSp">
        <pc:chgData name="Isabelle LEBO" userId="S::ma4349@bpifrance.fr::f1c985e3-394e-48e8-9a67-d1528b48b78a" providerId="AD" clId="Web-{6BD3B74D-735F-4559-86EC-D092B78FBA15}" dt="2023-05-03T07:51:19.864" v="0" actId="20577"/>
        <pc:sldMkLst>
          <pc:docMk/>
          <pc:sldMk cId="2978267047" sldId="299"/>
        </pc:sldMkLst>
        <pc:spChg chg="mod">
          <ac:chgData name="Isabelle LEBO" userId="S::ma4349@bpifrance.fr::f1c985e3-394e-48e8-9a67-d1528b48b78a" providerId="AD" clId="Web-{6BD3B74D-735F-4559-86EC-D092B78FBA15}" dt="2023-05-03T07:51:19.864" v="0" actId="20577"/>
          <ac:spMkLst>
            <pc:docMk/>
            <pc:sldMk cId="2978267047" sldId="299"/>
            <ac:spMk id="7" creationId="{00000000-0000-0000-0000-000000000000}"/>
          </ac:spMkLst>
        </pc:spChg>
      </pc:sldChg>
      <pc:sldChg chg="modSp">
        <pc:chgData name="Isabelle LEBO" userId="S::ma4349@bpifrance.fr::f1c985e3-394e-48e8-9a67-d1528b48b78a" providerId="AD" clId="Web-{6BD3B74D-735F-4559-86EC-D092B78FBA15}" dt="2023-05-03T07:55:17.887" v="30" actId="1076"/>
        <pc:sldMkLst>
          <pc:docMk/>
          <pc:sldMk cId="274459055" sldId="356"/>
        </pc:sldMkLst>
        <pc:grpChg chg="mod">
          <ac:chgData name="Isabelle LEBO" userId="S::ma4349@bpifrance.fr::f1c985e3-394e-48e8-9a67-d1528b48b78a" providerId="AD" clId="Web-{6BD3B74D-735F-4559-86EC-D092B78FBA15}" dt="2023-05-03T07:54:48.962" v="24" actId="1076"/>
          <ac:grpSpMkLst>
            <pc:docMk/>
            <pc:sldMk cId="274459055" sldId="356"/>
            <ac:grpSpMk id="3" creationId="{C654F5D6-C263-40F0-9AA8-5C9612930086}"/>
          </ac:grpSpMkLst>
        </pc:grpChg>
        <pc:grpChg chg="mod">
          <ac:chgData name="Isabelle LEBO" userId="S::ma4349@bpifrance.fr::f1c985e3-394e-48e8-9a67-d1528b48b78a" providerId="AD" clId="Web-{6BD3B74D-735F-4559-86EC-D092B78FBA15}" dt="2023-05-03T07:54:33.992" v="22" actId="1076"/>
          <ac:grpSpMkLst>
            <pc:docMk/>
            <pc:sldMk cId="274459055" sldId="356"/>
            <ac:grpSpMk id="4" creationId="{D2E84A61-BF46-412F-956D-98EE336E54A9}"/>
          </ac:grpSpMkLst>
        </pc:grpChg>
        <pc:grpChg chg="mod">
          <ac:chgData name="Isabelle LEBO" userId="S::ma4349@bpifrance.fr::f1c985e3-394e-48e8-9a67-d1528b48b78a" providerId="AD" clId="Web-{6BD3B74D-735F-4559-86EC-D092B78FBA15}" dt="2023-05-03T07:55:17.887" v="30" actId="1076"/>
          <ac:grpSpMkLst>
            <pc:docMk/>
            <pc:sldMk cId="274459055" sldId="356"/>
            <ac:grpSpMk id="5" creationId="{7E781D2B-14DE-414C-9B3E-2ADFDEEC5D71}"/>
          </ac:grpSpMkLst>
        </pc:grpChg>
        <pc:picChg chg="mod">
          <ac:chgData name="Isabelle LEBO" userId="S::ma4349@bpifrance.fr::f1c985e3-394e-48e8-9a67-d1528b48b78a" providerId="AD" clId="Web-{6BD3B74D-735F-4559-86EC-D092B78FBA15}" dt="2023-05-03T07:55:04.714" v="26" actId="1076"/>
          <ac:picMkLst>
            <pc:docMk/>
            <pc:sldMk cId="274459055" sldId="356"/>
            <ac:picMk id="23" creationId="{A9C513AC-3F00-47B2-982B-12C69CA7A0CA}"/>
          </ac:picMkLst>
        </pc:picChg>
        <pc:picChg chg="mod">
          <ac:chgData name="Isabelle LEBO" userId="S::ma4349@bpifrance.fr::f1c985e3-394e-48e8-9a67-d1528b48b78a" providerId="AD" clId="Web-{6BD3B74D-735F-4559-86EC-D092B78FBA15}" dt="2023-05-03T07:55:14.230" v="29" actId="1076"/>
          <ac:picMkLst>
            <pc:docMk/>
            <pc:sldMk cId="274459055" sldId="356"/>
            <ac:picMk id="30" creationId="{B9F1E31C-33B5-4FCE-8C69-78FE3498E56E}"/>
          </ac:picMkLst>
        </pc:picChg>
        <pc:picChg chg="mod">
          <ac:chgData name="Isabelle LEBO" userId="S::ma4349@bpifrance.fr::f1c985e3-394e-48e8-9a67-d1528b48b78a" providerId="AD" clId="Web-{6BD3B74D-735F-4559-86EC-D092B78FBA15}" dt="2023-05-03T07:54:58.010" v="25" actId="14100"/>
          <ac:picMkLst>
            <pc:docMk/>
            <pc:sldMk cId="274459055" sldId="356"/>
            <ac:picMk id="34" creationId="{75048095-27FB-4795-8EDD-0A428FB3ABE4}"/>
          </ac:picMkLst>
        </pc:picChg>
      </pc:sldChg>
      <pc:sldChg chg="modSp">
        <pc:chgData name="Isabelle LEBO" userId="S::ma4349@bpifrance.fr::f1c985e3-394e-48e8-9a67-d1528b48b78a" providerId="AD" clId="Web-{6BD3B74D-735F-4559-86EC-D092B78FBA15}" dt="2023-05-03T07:55:32.841" v="32" actId="20577"/>
        <pc:sldMkLst>
          <pc:docMk/>
          <pc:sldMk cId="294211617" sldId="360"/>
        </pc:sldMkLst>
        <pc:spChg chg="mod">
          <ac:chgData name="Isabelle LEBO" userId="S::ma4349@bpifrance.fr::f1c985e3-394e-48e8-9a67-d1528b48b78a" providerId="AD" clId="Web-{6BD3B74D-735F-4559-86EC-D092B78FBA15}" dt="2023-05-03T07:55:32.841" v="32" actId="20577"/>
          <ac:spMkLst>
            <pc:docMk/>
            <pc:sldMk cId="294211617" sldId="360"/>
            <ac:spMk id="5" creationId="{BD9434A1-3686-6EC8-E9E8-7B335E335751}"/>
          </ac:spMkLst>
        </pc:spChg>
      </pc:sldChg>
      <pc:sldChg chg="modSp">
        <pc:chgData name="Isabelle LEBO" userId="S::ma4349@bpifrance.fr::f1c985e3-394e-48e8-9a67-d1528b48b78a" providerId="AD" clId="Web-{6BD3B74D-735F-4559-86EC-D092B78FBA15}" dt="2023-05-03T07:58:08.528" v="68"/>
        <pc:sldMkLst>
          <pc:docMk/>
          <pc:sldMk cId="0" sldId="801"/>
        </pc:sldMkLst>
        <pc:spChg chg="mod">
          <ac:chgData name="Isabelle LEBO" userId="S::ma4349@bpifrance.fr::f1c985e3-394e-48e8-9a67-d1528b48b78a" providerId="AD" clId="Web-{6BD3B74D-735F-4559-86EC-D092B78FBA15}" dt="2023-05-03T07:58:08.528" v="68"/>
          <ac:spMkLst>
            <pc:docMk/>
            <pc:sldMk cId="0" sldId="801"/>
            <ac:spMk id="185346" creationId="{24A53F21-869C-4F80-874E-45658CEF2706}"/>
          </ac:spMkLst>
        </pc:spChg>
      </pc:sldChg>
      <pc:sldChg chg="modSp">
        <pc:chgData name="Isabelle LEBO" userId="S::ma4349@bpifrance.fr::f1c985e3-394e-48e8-9a67-d1528b48b78a" providerId="AD" clId="Web-{6BD3B74D-735F-4559-86EC-D092B78FBA15}" dt="2023-05-03T07:57:26.181" v="37" actId="1076"/>
        <pc:sldMkLst>
          <pc:docMk/>
          <pc:sldMk cId="2678454503" sldId="3950"/>
        </pc:sldMkLst>
        <pc:picChg chg="mod">
          <ac:chgData name="Isabelle LEBO" userId="S::ma4349@bpifrance.fr::f1c985e3-394e-48e8-9a67-d1528b48b78a" providerId="AD" clId="Web-{6BD3B74D-735F-4559-86EC-D092B78FBA15}" dt="2023-05-03T07:57:26.181" v="37" actId="1076"/>
          <ac:picMkLst>
            <pc:docMk/>
            <pc:sldMk cId="2678454503" sldId="3950"/>
            <ac:picMk id="7" creationId="{61C6A18E-6FF5-FC1E-1A27-C930A40792D2}"/>
          </ac:picMkLst>
        </pc:picChg>
      </pc:sldChg>
      <pc:sldChg chg="modSp">
        <pc:chgData name="Isabelle LEBO" userId="S::ma4349@bpifrance.fr::f1c985e3-394e-48e8-9a67-d1528b48b78a" providerId="AD" clId="Web-{6BD3B74D-735F-4559-86EC-D092B78FBA15}" dt="2023-05-03T07:51:59.180" v="2" actId="1076"/>
        <pc:sldMkLst>
          <pc:docMk/>
          <pc:sldMk cId="4045257331" sldId="3955"/>
        </pc:sldMkLst>
        <pc:spChg chg="mod">
          <ac:chgData name="Isabelle LEBO" userId="S::ma4349@bpifrance.fr::f1c985e3-394e-48e8-9a67-d1528b48b78a" providerId="AD" clId="Web-{6BD3B74D-735F-4559-86EC-D092B78FBA15}" dt="2023-05-03T07:51:59.180" v="2" actId="1076"/>
          <ac:spMkLst>
            <pc:docMk/>
            <pc:sldMk cId="4045257331" sldId="3955"/>
            <ac:spMk id="12" creationId="{3B5A98CF-44D3-0251-1AA7-6B3743D2F487}"/>
          </ac:spMkLst>
        </pc:spChg>
      </pc:sldChg>
      <pc:sldChg chg="modSp">
        <pc:chgData name="Isabelle LEBO" userId="S::ma4349@bpifrance.fr::f1c985e3-394e-48e8-9a67-d1528b48b78a" providerId="AD" clId="Web-{6BD3B74D-735F-4559-86EC-D092B78FBA15}" dt="2023-05-03T07:54:09.755" v="20" actId="20577"/>
        <pc:sldMkLst>
          <pc:docMk/>
          <pc:sldMk cId="2481201945" sldId="3956"/>
        </pc:sldMkLst>
        <pc:spChg chg="mod">
          <ac:chgData name="Isabelle LEBO" userId="S::ma4349@bpifrance.fr::f1c985e3-394e-48e8-9a67-d1528b48b78a" providerId="AD" clId="Web-{6BD3B74D-735F-4559-86EC-D092B78FBA15}" dt="2023-05-03T07:53:08.437" v="10" actId="14100"/>
          <ac:spMkLst>
            <pc:docMk/>
            <pc:sldMk cId="2481201945" sldId="3956"/>
            <ac:spMk id="16" creationId="{BDC4D03D-4D91-474B-8AFB-375583E39C1E}"/>
          </ac:spMkLst>
        </pc:spChg>
        <pc:spChg chg="mod">
          <ac:chgData name="Isabelle LEBO" userId="S::ma4349@bpifrance.fr::f1c985e3-394e-48e8-9a67-d1528b48b78a" providerId="AD" clId="Web-{6BD3B74D-735F-4559-86EC-D092B78FBA15}" dt="2023-05-03T07:52:52.435" v="6" actId="20577"/>
          <ac:spMkLst>
            <pc:docMk/>
            <pc:sldMk cId="2481201945" sldId="3956"/>
            <ac:spMk id="21" creationId="{8082ED7F-7297-4866-8A44-16AF04E9A8B0}"/>
          </ac:spMkLst>
        </pc:spChg>
        <pc:spChg chg="mod">
          <ac:chgData name="Isabelle LEBO" userId="S::ma4349@bpifrance.fr::f1c985e3-394e-48e8-9a67-d1528b48b78a" providerId="AD" clId="Web-{6BD3B74D-735F-4559-86EC-D092B78FBA15}" dt="2023-05-03T07:53:02.030" v="9" actId="14100"/>
          <ac:spMkLst>
            <pc:docMk/>
            <pc:sldMk cId="2481201945" sldId="3956"/>
            <ac:spMk id="25" creationId="{335DCC59-1541-47BD-8AB9-B75F850B3070}"/>
          </ac:spMkLst>
        </pc:spChg>
        <pc:spChg chg="mod">
          <ac:chgData name="Isabelle LEBO" userId="S::ma4349@bpifrance.fr::f1c985e3-394e-48e8-9a67-d1528b48b78a" providerId="AD" clId="Web-{6BD3B74D-735F-4559-86EC-D092B78FBA15}" dt="2023-05-03T07:53:21.751" v="13"/>
          <ac:spMkLst>
            <pc:docMk/>
            <pc:sldMk cId="2481201945" sldId="3956"/>
            <ac:spMk id="26" creationId="{0104FFE3-6676-4A63-8CC9-E35A42D1CB47}"/>
          </ac:spMkLst>
        </pc:spChg>
        <pc:spChg chg="mod">
          <ac:chgData name="Isabelle LEBO" userId="S::ma4349@bpifrance.fr::f1c985e3-394e-48e8-9a67-d1528b48b78a" providerId="AD" clId="Web-{6BD3B74D-735F-4559-86EC-D092B78FBA15}" dt="2023-05-03T07:54:09.755" v="20" actId="20577"/>
          <ac:spMkLst>
            <pc:docMk/>
            <pc:sldMk cId="2481201945" sldId="3956"/>
            <ac:spMk id="29" creationId="{10C54B5B-F238-4663-9CAA-95413613C3F1}"/>
          </ac:spMkLst>
        </pc:spChg>
        <pc:spChg chg="mod">
          <ac:chgData name="Isabelle LEBO" userId="S::ma4349@bpifrance.fr::f1c985e3-394e-48e8-9a67-d1528b48b78a" providerId="AD" clId="Web-{6BD3B74D-735F-4559-86EC-D092B78FBA15}" dt="2023-05-03T07:53:13.703" v="11"/>
          <ac:spMkLst>
            <pc:docMk/>
            <pc:sldMk cId="2481201945" sldId="3956"/>
            <ac:spMk id="30" creationId="{779E1340-A588-4DA8-BCBC-B874FB65965F}"/>
          </ac:spMkLst>
        </pc:spChg>
      </pc:sldChg>
    </pc:docChg>
  </pc:docChgLst>
  <pc:docChgLst>
    <pc:chgData name="Isabelle LEBO" userId="S::ma4349@bpifrance.fr::f1c985e3-394e-48e8-9a67-d1528b48b78a" providerId="AD" clId="Web-{77D472D0-43A4-424D-8C4B-A47D6B7DC21E}"/>
    <pc:docChg chg="addSld modSld">
      <pc:chgData name="Isabelle LEBO" userId="S::ma4349@bpifrance.fr::f1c985e3-394e-48e8-9a67-d1528b48b78a" providerId="AD" clId="Web-{77D472D0-43A4-424D-8C4B-A47D6B7DC21E}" dt="2023-03-12T17:54:30.985" v="467"/>
      <pc:docMkLst>
        <pc:docMk/>
      </pc:docMkLst>
      <pc:sldChg chg="delSp modSp add">
        <pc:chgData name="Isabelle LEBO" userId="S::ma4349@bpifrance.fr::f1c985e3-394e-48e8-9a67-d1528b48b78a" providerId="AD" clId="Web-{77D472D0-43A4-424D-8C4B-A47D6B7DC21E}" dt="2023-03-12T17:54:30.985" v="467"/>
        <pc:sldMkLst>
          <pc:docMk/>
          <pc:sldMk cId="2481201945" sldId="3956"/>
        </pc:sldMkLst>
        <pc:spChg chg="del">
          <ac:chgData name="Isabelle LEBO" userId="S::ma4349@bpifrance.fr::f1c985e3-394e-48e8-9a67-d1528b48b78a" providerId="AD" clId="Web-{77D472D0-43A4-424D-8C4B-A47D6B7DC21E}" dt="2023-03-12T17:54:14" v="465"/>
          <ac:spMkLst>
            <pc:docMk/>
            <pc:sldMk cId="2481201945" sldId="3956"/>
            <ac:spMk id="3" creationId="{7411AA10-9F11-4F13-BB4D-C4E6944F0574}"/>
          </ac:spMkLst>
        </pc:spChg>
        <pc:spChg chg="mod">
          <ac:chgData name="Isabelle LEBO" userId="S::ma4349@bpifrance.fr::f1c985e3-394e-48e8-9a67-d1528b48b78a" providerId="AD" clId="Web-{77D472D0-43A4-424D-8C4B-A47D6B7DC21E}" dt="2023-03-12T17:41:38.341" v="13" actId="20577"/>
          <ac:spMkLst>
            <pc:docMk/>
            <pc:sldMk cId="2481201945" sldId="3956"/>
            <ac:spMk id="4" creationId="{21A11164-14C0-4872-8AC2-2E7F8399BF59}"/>
          </ac:spMkLst>
        </pc:spChg>
        <pc:spChg chg="mod">
          <ac:chgData name="Isabelle LEBO" userId="S::ma4349@bpifrance.fr::f1c985e3-394e-48e8-9a67-d1528b48b78a" providerId="AD" clId="Web-{77D472D0-43A4-424D-8C4B-A47D6B7DC21E}" dt="2023-03-12T17:43:16.046" v="60" actId="20577"/>
          <ac:spMkLst>
            <pc:docMk/>
            <pc:sldMk cId="2481201945" sldId="3956"/>
            <ac:spMk id="14" creationId="{55EBF3A2-4ECD-4640-89C8-9F5326301060}"/>
          </ac:spMkLst>
        </pc:spChg>
        <pc:spChg chg="mod">
          <ac:chgData name="Isabelle LEBO" userId="S::ma4349@bpifrance.fr::f1c985e3-394e-48e8-9a67-d1528b48b78a" providerId="AD" clId="Web-{77D472D0-43A4-424D-8C4B-A47D6B7DC21E}" dt="2023-03-12T17:44:31.908" v="76" actId="20577"/>
          <ac:spMkLst>
            <pc:docMk/>
            <pc:sldMk cId="2481201945" sldId="3956"/>
            <ac:spMk id="16" creationId="{BDC4D03D-4D91-474B-8AFB-375583E39C1E}"/>
          </ac:spMkLst>
        </pc:spChg>
        <pc:spChg chg="mod">
          <ac:chgData name="Isabelle LEBO" userId="S::ma4349@bpifrance.fr::f1c985e3-394e-48e8-9a67-d1528b48b78a" providerId="AD" clId="Web-{77D472D0-43A4-424D-8C4B-A47D6B7DC21E}" dt="2023-03-12T17:51:55.590" v="433" actId="14100"/>
          <ac:spMkLst>
            <pc:docMk/>
            <pc:sldMk cId="2481201945" sldId="3956"/>
            <ac:spMk id="21" creationId="{8082ED7F-7297-4866-8A44-16AF04E9A8B0}"/>
          </ac:spMkLst>
        </pc:spChg>
        <pc:spChg chg="mod">
          <ac:chgData name="Isabelle LEBO" userId="S::ma4349@bpifrance.fr::f1c985e3-394e-48e8-9a67-d1528b48b78a" providerId="AD" clId="Web-{77D472D0-43A4-424D-8C4B-A47D6B7DC21E}" dt="2023-03-12T17:45:06.065" v="122" actId="20577"/>
          <ac:spMkLst>
            <pc:docMk/>
            <pc:sldMk cId="2481201945" sldId="3956"/>
            <ac:spMk id="25" creationId="{335DCC59-1541-47BD-8AB9-B75F850B3070}"/>
          </ac:spMkLst>
        </pc:spChg>
        <pc:spChg chg="mod">
          <ac:chgData name="Isabelle LEBO" userId="S::ma4349@bpifrance.fr::f1c985e3-394e-48e8-9a67-d1528b48b78a" providerId="AD" clId="Web-{77D472D0-43A4-424D-8C4B-A47D6B7DC21E}" dt="2023-03-12T17:54:30.985" v="467"/>
          <ac:spMkLst>
            <pc:docMk/>
            <pc:sldMk cId="2481201945" sldId="3956"/>
            <ac:spMk id="26" creationId="{0104FFE3-6676-4A63-8CC9-E35A42D1CB47}"/>
          </ac:spMkLst>
        </pc:spChg>
        <pc:spChg chg="mod">
          <ac:chgData name="Isabelle LEBO" userId="S::ma4349@bpifrance.fr::f1c985e3-394e-48e8-9a67-d1528b48b78a" providerId="AD" clId="Web-{77D472D0-43A4-424D-8C4B-A47D6B7DC21E}" dt="2023-03-12T17:52:58.686" v="442"/>
          <ac:spMkLst>
            <pc:docMk/>
            <pc:sldMk cId="2481201945" sldId="3956"/>
            <ac:spMk id="29" creationId="{10C54B5B-F238-4663-9CAA-95413613C3F1}"/>
          </ac:spMkLst>
        </pc:spChg>
        <pc:spChg chg="mod">
          <ac:chgData name="Isabelle LEBO" userId="S::ma4349@bpifrance.fr::f1c985e3-394e-48e8-9a67-d1528b48b78a" providerId="AD" clId="Web-{77D472D0-43A4-424D-8C4B-A47D6B7DC21E}" dt="2023-03-12T17:47:43.084" v="281" actId="20577"/>
          <ac:spMkLst>
            <pc:docMk/>
            <pc:sldMk cId="2481201945" sldId="3956"/>
            <ac:spMk id="30" creationId="{779E1340-A588-4DA8-BCBC-B874FB65965F}"/>
          </ac:spMkLst>
        </pc:spChg>
        <pc:spChg chg="mod">
          <ac:chgData name="Isabelle LEBO" userId="S::ma4349@bpifrance.fr::f1c985e3-394e-48e8-9a67-d1528b48b78a" providerId="AD" clId="Web-{77D472D0-43A4-424D-8C4B-A47D6B7DC21E}" dt="2023-03-12T17:45:56.628" v="150" actId="20577"/>
          <ac:spMkLst>
            <pc:docMk/>
            <pc:sldMk cId="2481201945" sldId="3956"/>
            <ac:spMk id="31" creationId="{2A9E1407-4F93-4A46-BC31-776A0D6C78AB}"/>
          </ac:spMkLst>
        </pc:spChg>
        <pc:spChg chg="mod">
          <ac:chgData name="Isabelle LEBO" userId="S::ma4349@bpifrance.fr::f1c985e3-394e-48e8-9a67-d1528b48b78a" providerId="AD" clId="Web-{77D472D0-43A4-424D-8C4B-A47D6B7DC21E}" dt="2023-03-12T17:54:23.906" v="466" actId="1076"/>
          <ac:spMkLst>
            <pc:docMk/>
            <pc:sldMk cId="2481201945" sldId="3956"/>
            <ac:spMk id="34" creationId="{3F0B7F7F-82DE-44C2-BAA2-268E4A6AED7F}"/>
          </ac:spMkLst>
        </pc:spChg>
        <pc:cxnChg chg="mod">
          <ac:chgData name="Isabelle LEBO" userId="S::ma4349@bpifrance.fr::f1c985e3-394e-48e8-9a67-d1528b48b78a" providerId="AD" clId="Web-{77D472D0-43A4-424D-8C4B-A47D6B7DC21E}" dt="2023-03-12T17:42:31.717" v="51" actId="1076"/>
          <ac:cxnSpMkLst>
            <pc:docMk/>
            <pc:sldMk cId="2481201945" sldId="3956"/>
            <ac:cxnSpMk id="15" creationId="{34A7175E-DBB7-46FA-8AF8-BFF46022D1B0}"/>
          </ac:cxnSpMkLst>
        </pc:cxnChg>
      </pc:sldChg>
    </pc:docChg>
  </pc:docChgLst>
  <pc:docChgLst>
    <pc:chgData name="Isabelle LEBO" userId="S::ma4349@bpifrance.fr::f1c985e3-394e-48e8-9a67-d1528b48b78a" providerId="AD" clId="Web-{B5D3F384-4367-4136-BC8A-4C80B4EDCE93}"/>
    <pc:docChg chg="modSld">
      <pc:chgData name="Isabelle LEBO" userId="S::ma4349@bpifrance.fr::f1c985e3-394e-48e8-9a67-d1528b48b78a" providerId="AD" clId="Web-{B5D3F384-4367-4136-BC8A-4C80B4EDCE93}" dt="2023-03-03T11:04:50.123" v="296" actId="20577"/>
      <pc:docMkLst>
        <pc:docMk/>
      </pc:docMkLst>
      <pc:sldChg chg="modSp">
        <pc:chgData name="Isabelle LEBO" userId="S::ma4349@bpifrance.fr::f1c985e3-394e-48e8-9a67-d1528b48b78a" providerId="AD" clId="Web-{B5D3F384-4367-4136-BC8A-4C80B4EDCE93}" dt="2023-03-03T10:54:05.865" v="157" actId="20577"/>
        <pc:sldMkLst>
          <pc:docMk/>
          <pc:sldMk cId="1342060737" sldId="349"/>
        </pc:sldMkLst>
        <pc:spChg chg="mod">
          <ac:chgData name="Isabelle LEBO" userId="S::ma4349@bpifrance.fr::f1c985e3-394e-48e8-9a67-d1528b48b78a" providerId="AD" clId="Web-{B5D3F384-4367-4136-BC8A-4C80B4EDCE93}" dt="2023-03-03T10:54:05.865" v="157" actId="20577"/>
          <ac:spMkLst>
            <pc:docMk/>
            <pc:sldMk cId="1342060737" sldId="349"/>
            <ac:spMk id="5" creationId="{00000000-0000-0000-0000-000000000000}"/>
          </ac:spMkLst>
        </pc:spChg>
      </pc:sldChg>
      <pc:sldChg chg="addSp modSp">
        <pc:chgData name="Isabelle LEBO" userId="S::ma4349@bpifrance.fr::f1c985e3-394e-48e8-9a67-d1528b48b78a" providerId="AD" clId="Web-{B5D3F384-4367-4136-BC8A-4C80B4EDCE93}" dt="2023-03-03T10:48:14.602" v="115" actId="14100"/>
        <pc:sldMkLst>
          <pc:docMk/>
          <pc:sldMk cId="483477197" sldId="350"/>
        </pc:sldMkLst>
        <pc:spChg chg="add mod">
          <ac:chgData name="Isabelle LEBO" userId="S::ma4349@bpifrance.fr::f1c985e3-394e-48e8-9a67-d1528b48b78a" providerId="AD" clId="Web-{B5D3F384-4367-4136-BC8A-4C80B4EDCE93}" dt="2023-03-03T10:48:14.602" v="115" actId="14100"/>
          <ac:spMkLst>
            <pc:docMk/>
            <pc:sldMk cId="483477197" sldId="350"/>
            <ac:spMk id="3" creationId="{39069642-E21D-C1C3-9EF1-510E99B28F31}"/>
          </ac:spMkLst>
        </pc:spChg>
        <pc:spChg chg="mod">
          <ac:chgData name="Isabelle LEBO" userId="S::ma4349@bpifrance.fr::f1c985e3-394e-48e8-9a67-d1528b48b78a" providerId="AD" clId="Web-{B5D3F384-4367-4136-BC8A-4C80B4EDCE93}" dt="2023-03-03T10:42:22.463" v="58"/>
          <ac:spMkLst>
            <pc:docMk/>
            <pc:sldMk cId="483477197" sldId="350"/>
            <ac:spMk id="4" creationId="{BC39DF67-23E9-E4D1-B424-292A7F7FEE57}"/>
          </ac:spMkLst>
        </pc:spChg>
        <pc:spChg chg="mod">
          <ac:chgData name="Isabelle LEBO" userId="S::ma4349@bpifrance.fr::f1c985e3-394e-48e8-9a67-d1528b48b78a" providerId="AD" clId="Web-{B5D3F384-4367-4136-BC8A-4C80B4EDCE93}" dt="2023-03-03T10:47:44.491" v="109" actId="1076"/>
          <ac:spMkLst>
            <pc:docMk/>
            <pc:sldMk cId="483477197" sldId="350"/>
            <ac:spMk id="7" creationId="{C29C41AC-6FA3-A148-7334-64E199F22EF5}"/>
          </ac:spMkLst>
        </pc:spChg>
        <pc:spChg chg="add mod">
          <ac:chgData name="Isabelle LEBO" userId="S::ma4349@bpifrance.fr::f1c985e3-394e-48e8-9a67-d1528b48b78a" providerId="AD" clId="Web-{B5D3F384-4367-4136-BC8A-4C80B4EDCE93}" dt="2023-03-03T10:48:04.429" v="111"/>
          <ac:spMkLst>
            <pc:docMk/>
            <pc:sldMk cId="483477197" sldId="350"/>
            <ac:spMk id="8" creationId="{B3A1A5F5-253D-1455-A091-79BF1715FBF5}"/>
          </ac:spMkLst>
        </pc:spChg>
      </pc:sldChg>
      <pc:sldChg chg="addSp modSp">
        <pc:chgData name="Isabelle LEBO" userId="S::ma4349@bpifrance.fr::f1c985e3-394e-48e8-9a67-d1528b48b78a" providerId="AD" clId="Web-{B5D3F384-4367-4136-BC8A-4C80B4EDCE93}" dt="2023-03-03T10:54:42.960" v="164" actId="20577"/>
        <pc:sldMkLst>
          <pc:docMk/>
          <pc:sldMk cId="274459055" sldId="356"/>
        </pc:sldMkLst>
        <pc:spChg chg="add mod">
          <ac:chgData name="Isabelle LEBO" userId="S::ma4349@bpifrance.fr::f1c985e3-394e-48e8-9a67-d1528b48b78a" providerId="AD" clId="Web-{B5D3F384-4367-4136-BC8A-4C80B4EDCE93}" dt="2023-03-03T10:49:05.869" v="121" actId="1076"/>
          <ac:spMkLst>
            <pc:docMk/>
            <pc:sldMk cId="274459055" sldId="356"/>
            <ac:spMk id="6" creationId="{E7BC887F-329E-4C60-8513-5DE73A91CD51}"/>
          </ac:spMkLst>
        </pc:spChg>
        <pc:spChg chg="mod">
          <ac:chgData name="Isabelle LEBO" userId="S::ma4349@bpifrance.fr::f1c985e3-394e-48e8-9a67-d1528b48b78a" providerId="AD" clId="Web-{B5D3F384-4367-4136-BC8A-4C80B4EDCE93}" dt="2023-03-03T10:54:34.272" v="162"/>
          <ac:spMkLst>
            <pc:docMk/>
            <pc:sldMk cId="274459055" sldId="356"/>
            <ac:spMk id="7" creationId="{2DC1FEAF-1618-4912-9A1D-688ADF32DCE5}"/>
          </ac:spMkLst>
        </pc:spChg>
        <pc:spChg chg="add mod">
          <ac:chgData name="Isabelle LEBO" userId="S::ma4349@bpifrance.fr::f1c985e3-394e-48e8-9a67-d1528b48b78a" providerId="AD" clId="Web-{B5D3F384-4367-4136-BC8A-4C80B4EDCE93}" dt="2023-03-03T10:54:42.960" v="164" actId="20577"/>
          <ac:spMkLst>
            <pc:docMk/>
            <pc:sldMk cId="274459055" sldId="356"/>
            <ac:spMk id="9" creationId="{F044A8CF-CAD2-68C6-5DA2-BDF4002F5A67}"/>
          </ac:spMkLst>
        </pc:spChg>
      </pc:sldChg>
      <pc:sldChg chg="modSp">
        <pc:chgData name="Isabelle LEBO" userId="S::ma4349@bpifrance.fr::f1c985e3-394e-48e8-9a67-d1528b48b78a" providerId="AD" clId="Web-{B5D3F384-4367-4136-BC8A-4C80B4EDCE93}" dt="2023-03-03T10:49:58.855" v="136" actId="1076"/>
        <pc:sldMkLst>
          <pc:docMk/>
          <pc:sldMk cId="3123742323" sldId="359"/>
        </pc:sldMkLst>
        <pc:spChg chg="mod">
          <ac:chgData name="Isabelle LEBO" userId="S::ma4349@bpifrance.fr::f1c985e3-394e-48e8-9a67-d1528b48b78a" providerId="AD" clId="Web-{B5D3F384-4367-4136-BC8A-4C80B4EDCE93}" dt="2023-03-03T10:49:58.855" v="136" actId="1076"/>
          <ac:spMkLst>
            <pc:docMk/>
            <pc:sldMk cId="3123742323" sldId="359"/>
            <ac:spMk id="4" creationId="{63788AFE-8751-3DD4-D85A-C8DC9ADAB198}"/>
          </ac:spMkLst>
        </pc:spChg>
        <pc:spChg chg="mod">
          <ac:chgData name="Isabelle LEBO" userId="S::ma4349@bpifrance.fr::f1c985e3-394e-48e8-9a67-d1528b48b78a" providerId="AD" clId="Web-{B5D3F384-4367-4136-BC8A-4C80B4EDCE93}" dt="2023-03-03T10:49:38.902" v="134" actId="14100"/>
          <ac:spMkLst>
            <pc:docMk/>
            <pc:sldMk cId="3123742323" sldId="359"/>
            <ac:spMk id="9" creationId="{E78EBD05-8663-4CD9-9750-B41CBECF705A}"/>
          </ac:spMkLst>
        </pc:spChg>
        <pc:spChg chg="mod">
          <ac:chgData name="Isabelle LEBO" userId="S::ma4349@bpifrance.fr::f1c985e3-394e-48e8-9a67-d1528b48b78a" providerId="AD" clId="Web-{B5D3F384-4367-4136-BC8A-4C80B4EDCE93}" dt="2023-03-03T10:49:42.824" v="135" actId="14100"/>
          <ac:spMkLst>
            <pc:docMk/>
            <pc:sldMk cId="3123742323" sldId="359"/>
            <ac:spMk id="11" creationId="{71B83F56-DF2F-48C5-85EA-455035B43B03}"/>
          </ac:spMkLst>
        </pc:spChg>
      </pc:sldChg>
      <pc:sldChg chg="modSp">
        <pc:chgData name="Isabelle LEBO" userId="S::ma4349@bpifrance.fr::f1c985e3-394e-48e8-9a67-d1528b48b78a" providerId="AD" clId="Web-{B5D3F384-4367-4136-BC8A-4C80B4EDCE93}" dt="2023-03-03T10:50:22.575" v="137" actId="1076"/>
        <pc:sldMkLst>
          <pc:docMk/>
          <pc:sldMk cId="294211617" sldId="360"/>
        </pc:sldMkLst>
        <pc:spChg chg="mod">
          <ac:chgData name="Isabelle LEBO" userId="S::ma4349@bpifrance.fr::f1c985e3-394e-48e8-9a67-d1528b48b78a" providerId="AD" clId="Web-{B5D3F384-4367-4136-BC8A-4C80B4EDCE93}" dt="2023-03-03T10:50:22.575" v="137" actId="1076"/>
          <ac:spMkLst>
            <pc:docMk/>
            <pc:sldMk cId="294211617" sldId="360"/>
            <ac:spMk id="15" creationId="{EE036BFC-073D-6219-2AE0-47645CA4D3C0}"/>
          </ac:spMkLst>
        </pc:spChg>
      </pc:sldChg>
      <pc:sldChg chg="addSp modSp">
        <pc:chgData name="Isabelle LEBO" userId="S::ma4349@bpifrance.fr::f1c985e3-394e-48e8-9a67-d1528b48b78a" providerId="AD" clId="Web-{B5D3F384-4367-4136-BC8A-4C80B4EDCE93}" dt="2023-03-03T10:54:11.302" v="158"/>
        <pc:sldMkLst>
          <pc:docMk/>
          <pc:sldMk cId="1394747852" sldId="1596"/>
        </pc:sldMkLst>
        <pc:spChg chg="mod">
          <ac:chgData name="Isabelle LEBO" userId="S::ma4349@bpifrance.fr::f1c985e3-394e-48e8-9a67-d1528b48b78a" providerId="AD" clId="Web-{B5D3F384-4367-4136-BC8A-4C80B4EDCE93}" dt="2023-03-03T10:47:20.068" v="105" actId="1076"/>
          <ac:spMkLst>
            <pc:docMk/>
            <pc:sldMk cId="1394747852" sldId="1596"/>
            <ac:spMk id="5" creationId="{D1BBA8AF-4F73-F910-532E-EB7D9497E212}"/>
          </ac:spMkLst>
        </pc:spChg>
        <pc:spChg chg="add mod">
          <ac:chgData name="Isabelle LEBO" userId="S::ma4349@bpifrance.fr::f1c985e3-394e-48e8-9a67-d1528b48b78a" providerId="AD" clId="Web-{B5D3F384-4367-4136-BC8A-4C80B4EDCE93}" dt="2023-03-03T10:48:31.680" v="117" actId="1076"/>
          <ac:spMkLst>
            <pc:docMk/>
            <pc:sldMk cId="1394747852" sldId="1596"/>
            <ac:spMk id="7" creationId="{4A0D854B-F121-08A6-C593-340A5FBB665A}"/>
          </ac:spMkLst>
        </pc:spChg>
        <pc:spChg chg="mod">
          <ac:chgData name="Isabelle LEBO" userId="S::ma4349@bpifrance.fr::f1c985e3-394e-48e8-9a67-d1528b48b78a" providerId="AD" clId="Web-{B5D3F384-4367-4136-BC8A-4C80B4EDCE93}" dt="2023-03-03T10:54:11.302" v="158"/>
          <ac:spMkLst>
            <pc:docMk/>
            <pc:sldMk cId="1394747852" sldId="1596"/>
            <ac:spMk id="8" creationId="{A1587FFC-FF80-A442-C2CD-DBB90E35C2FE}"/>
          </ac:spMkLst>
        </pc:spChg>
        <pc:spChg chg="add mod ord">
          <ac:chgData name="Isabelle LEBO" userId="S::ma4349@bpifrance.fr::f1c985e3-394e-48e8-9a67-d1528b48b78a" providerId="AD" clId="Web-{B5D3F384-4367-4136-BC8A-4C80B4EDCE93}" dt="2023-03-03T10:48:29.024" v="116" actId="14100"/>
          <ac:spMkLst>
            <pc:docMk/>
            <pc:sldMk cId="1394747852" sldId="1596"/>
            <ac:spMk id="10" creationId="{28B5D130-ECF4-9E06-0906-218A613C1737}"/>
          </ac:spMkLst>
        </pc:spChg>
      </pc:sldChg>
      <pc:sldChg chg="addSp modSp">
        <pc:chgData name="Isabelle LEBO" userId="S::ma4349@bpifrance.fr::f1c985e3-394e-48e8-9a67-d1528b48b78a" providerId="AD" clId="Web-{B5D3F384-4367-4136-BC8A-4C80B4EDCE93}" dt="2023-03-03T11:04:50.123" v="296" actId="20577"/>
        <pc:sldMkLst>
          <pc:docMk/>
          <pc:sldMk cId="596822363" sldId="3943"/>
        </pc:sldMkLst>
        <pc:spChg chg="add mod">
          <ac:chgData name="Isabelle LEBO" userId="S::ma4349@bpifrance.fr::f1c985e3-394e-48e8-9a67-d1528b48b78a" providerId="AD" clId="Web-{B5D3F384-4367-4136-BC8A-4C80B4EDCE93}" dt="2023-03-03T11:04:27.669" v="293"/>
          <ac:spMkLst>
            <pc:docMk/>
            <pc:sldMk cId="596822363" sldId="3943"/>
            <ac:spMk id="5" creationId="{4AB8920A-1B90-AE1D-7E56-EBA35AF44822}"/>
          </ac:spMkLst>
        </pc:spChg>
        <pc:spChg chg="add mod">
          <ac:chgData name="Isabelle LEBO" userId="S::ma4349@bpifrance.fr::f1c985e3-394e-48e8-9a67-d1528b48b78a" providerId="AD" clId="Web-{B5D3F384-4367-4136-BC8A-4C80B4EDCE93}" dt="2023-03-03T11:03:51.027" v="286" actId="1076"/>
          <ac:spMkLst>
            <pc:docMk/>
            <pc:sldMk cId="596822363" sldId="3943"/>
            <ac:spMk id="7" creationId="{8E513475-71FD-DD39-6F7D-C0BB12721F0A}"/>
          </ac:spMkLst>
        </pc:spChg>
        <pc:spChg chg="mod">
          <ac:chgData name="Isabelle LEBO" userId="S::ma4349@bpifrance.fr::f1c985e3-394e-48e8-9a67-d1528b48b78a" providerId="AD" clId="Web-{B5D3F384-4367-4136-BC8A-4C80B4EDCE93}" dt="2023-03-03T11:02:46.947" v="272" actId="20577"/>
          <ac:spMkLst>
            <pc:docMk/>
            <pc:sldMk cId="596822363" sldId="3943"/>
            <ac:spMk id="8" creationId="{8BCF9B2B-8B02-F23A-A156-0735256D910D}"/>
          </ac:spMkLst>
        </pc:spChg>
        <pc:spChg chg="add mod">
          <ac:chgData name="Isabelle LEBO" userId="S::ma4349@bpifrance.fr::f1c985e3-394e-48e8-9a67-d1528b48b78a" providerId="AD" clId="Web-{B5D3F384-4367-4136-BC8A-4C80B4EDCE93}" dt="2023-03-03T11:04:50.123" v="296" actId="20577"/>
          <ac:spMkLst>
            <pc:docMk/>
            <pc:sldMk cId="596822363" sldId="3943"/>
            <ac:spMk id="10" creationId="{1720A44C-B821-1537-473D-DF372D1A6E97}"/>
          </ac:spMkLst>
        </pc:spChg>
        <pc:picChg chg="mod">
          <ac:chgData name="Isabelle LEBO" userId="S::ma4349@bpifrance.fr::f1c985e3-394e-48e8-9a67-d1528b48b78a" providerId="AD" clId="Web-{B5D3F384-4367-4136-BC8A-4C80B4EDCE93}" dt="2023-03-03T10:55:48.993" v="174" actId="14100"/>
          <ac:picMkLst>
            <pc:docMk/>
            <pc:sldMk cId="596822363" sldId="3943"/>
            <ac:picMk id="9" creationId="{56636CE7-23A5-44E9-0635-416E74EA5F6E}"/>
          </ac:picMkLst>
        </pc:picChg>
      </pc:sldChg>
      <pc:sldChg chg="addSp modSp">
        <pc:chgData name="Isabelle LEBO" userId="S::ma4349@bpifrance.fr::f1c985e3-394e-48e8-9a67-d1528b48b78a" providerId="AD" clId="Web-{B5D3F384-4367-4136-BC8A-4C80B4EDCE93}" dt="2023-03-03T10:53:28.301" v="154" actId="1076"/>
        <pc:sldMkLst>
          <pc:docMk/>
          <pc:sldMk cId="3065012018" sldId="3944"/>
        </pc:sldMkLst>
        <pc:spChg chg="mod">
          <ac:chgData name="Isabelle LEBO" userId="S::ma4349@bpifrance.fr::f1c985e3-394e-48e8-9a67-d1528b48b78a" providerId="AD" clId="Web-{B5D3F384-4367-4136-BC8A-4C80B4EDCE93}" dt="2023-03-03T10:52:26.064" v="146" actId="20577"/>
          <ac:spMkLst>
            <pc:docMk/>
            <pc:sldMk cId="3065012018" sldId="3944"/>
            <ac:spMk id="5" creationId="{59064968-61C7-BD49-8606-15C574A925A9}"/>
          </ac:spMkLst>
        </pc:spChg>
        <pc:picChg chg="add mod">
          <ac:chgData name="Isabelle LEBO" userId="S::ma4349@bpifrance.fr::f1c985e3-394e-48e8-9a67-d1528b48b78a" providerId="AD" clId="Web-{B5D3F384-4367-4136-BC8A-4C80B4EDCE93}" dt="2023-03-03T10:53:28.301" v="154" actId="1076"/>
          <ac:picMkLst>
            <pc:docMk/>
            <pc:sldMk cId="3065012018" sldId="3944"/>
            <ac:picMk id="9" creationId="{7ED6A0F2-8B69-800B-0968-B81B8F168EB8}"/>
          </ac:picMkLst>
        </pc:picChg>
        <pc:picChg chg="add mod">
          <ac:chgData name="Isabelle LEBO" userId="S::ma4349@bpifrance.fr::f1c985e3-394e-48e8-9a67-d1528b48b78a" providerId="AD" clId="Web-{B5D3F384-4367-4136-BC8A-4C80B4EDCE93}" dt="2023-03-03T10:53:02.737" v="150" actId="1076"/>
          <ac:picMkLst>
            <pc:docMk/>
            <pc:sldMk cId="3065012018" sldId="3944"/>
            <ac:picMk id="11" creationId="{C4F67980-E6F7-0881-1999-0B38E941F9CA}"/>
          </ac:picMkLst>
        </pc:picChg>
        <pc:picChg chg="add mod">
          <ac:chgData name="Isabelle LEBO" userId="S::ma4349@bpifrance.fr::f1c985e3-394e-48e8-9a67-d1528b48b78a" providerId="AD" clId="Web-{B5D3F384-4367-4136-BC8A-4C80B4EDCE93}" dt="2023-03-03T10:53:18.160" v="152" actId="1076"/>
          <ac:picMkLst>
            <pc:docMk/>
            <pc:sldMk cId="3065012018" sldId="3944"/>
            <ac:picMk id="13" creationId="{18E24B19-D08F-1C86-66E3-FDA207713467}"/>
          </ac:picMkLst>
        </pc:picChg>
      </pc:sldChg>
    </pc:docChg>
  </pc:docChgLst>
  <pc:docChgLst>
    <pc:chgData name="Virginie PONCET" userId="ebcd993a-a2ce-4546-82a8-b8fa2d7b77e1" providerId="ADAL" clId="{256EFD73-6466-46D9-A78C-97031829346C}"/>
    <pc:docChg chg="undo custSel delSld modSld delMainMaster">
      <pc:chgData name="Virginie PONCET" userId="ebcd993a-a2ce-4546-82a8-b8fa2d7b77e1" providerId="ADAL" clId="{256EFD73-6466-46D9-A78C-97031829346C}" dt="2023-10-20T07:49:04.058" v="42" actId="47"/>
      <pc:docMkLst>
        <pc:docMk/>
      </pc:docMkLst>
      <pc:sldChg chg="del">
        <pc:chgData name="Virginie PONCET" userId="ebcd993a-a2ce-4546-82a8-b8fa2d7b77e1" providerId="ADAL" clId="{256EFD73-6466-46D9-A78C-97031829346C}" dt="2023-10-20T07:42:49.561" v="17" actId="47"/>
        <pc:sldMkLst>
          <pc:docMk/>
          <pc:sldMk cId="0" sldId="262"/>
        </pc:sldMkLst>
      </pc:sldChg>
      <pc:sldChg chg="del">
        <pc:chgData name="Virginie PONCET" userId="ebcd993a-a2ce-4546-82a8-b8fa2d7b77e1" providerId="ADAL" clId="{256EFD73-6466-46D9-A78C-97031829346C}" dt="2023-10-20T07:42:38.851" v="10" actId="47"/>
        <pc:sldMkLst>
          <pc:docMk/>
          <pc:sldMk cId="0" sldId="263"/>
        </pc:sldMkLst>
      </pc:sldChg>
      <pc:sldChg chg="del">
        <pc:chgData name="Virginie PONCET" userId="ebcd993a-a2ce-4546-82a8-b8fa2d7b77e1" providerId="ADAL" clId="{256EFD73-6466-46D9-A78C-97031829346C}" dt="2023-10-20T07:42:39.533" v="11" actId="47"/>
        <pc:sldMkLst>
          <pc:docMk/>
          <pc:sldMk cId="0" sldId="265"/>
        </pc:sldMkLst>
      </pc:sldChg>
      <pc:sldChg chg="del">
        <pc:chgData name="Virginie PONCET" userId="ebcd993a-a2ce-4546-82a8-b8fa2d7b77e1" providerId="ADAL" clId="{256EFD73-6466-46D9-A78C-97031829346C}" dt="2023-10-20T07:42:40.392" v="12" actId="47"/>
        <pc:sldMkLst>
          <pc:docMk/>
          <pc:sldMk cId="0" sldId="268"/>
        </pc:sldMkLst>
      </pc:sldChg>
      <pc:sldChg chg="del">
        <pc:chgData name="Virginie PONCET" userId="ebcd993a-a2ce-4546-82a8-b8fa2d7b77e1" providerId="ADAL" clId="{256EFD73-6466-46D9-A78C-97031829346C}" dt="2023-10-20T07:42:41.477" v="13" actId="47"/>
        <pc:sldMkLst>
          <pc:docMk/>
          <pc:sldMk cId="0" sldId="270"/>
        </pc:sldMkLst>
      </pc:sldChg>
      <pc:sldChg chg="del">
        <pc:chgData name="Virginie PONCET" userId="ebcd993a-a2ce-4546-82a8-b8fa2d7b77e1" providerId="ADAL" clId="{256EFD73-6466-46D9-A78C-97031829346C}" dt="2023-10-20T07:42:42.164" v="14" actId="47"/>
        <pc:sldMkLst>
          <pc:docMk/>
          <pc:sldMk cId="0" sldId="271"/>
        </pc:sldMkLst>
      </pc:sldChg>
      <pc:sldChg chg="del">
        <pc:chgData name="Virginie PONCET" userId="ebcd993a-a2ce-4546-82a8-b8fa2d7b77e1" providerId="ADAL" clId="{256EFD73-6466-46D9-A78C-97031829346C}" dt="2023-10-20T07:42:44.955" v="15" actId="47"/>
        <pc:sldMkLst>
          <pc:docMk/>
          <pc:sldMk cId="0" sldId="275"/>
        </pc:sldMkLst>
      </pc:sldChg>
      <pc:sldChg chg="del">
        <pc:chgData name="Virginie PONCET" userId="ebcd993a-a2ce-4546-82a8-b8fa2d7b77e1" providerId="ADAL" clId="{256EFD73-6466-46D9-A78C-97031829346C}" dt="2023-10-20T07:42:14.026" v="0" actId="47"/>
        <pc:sldMkLst>
          <pc:docMk/>
          <pc:sldMk cId="462974486" sldId="337"/>
        </pc:sldMkLst>
      </pc:sldChg>
      <pc:sldChg chg="delSp modSp del mod">
        <pc:chgData name="Virginie PONCET" userId="ebcd993a-a2ce-4546-82a8-b8fa2d7b77e1" providerId="ADAL" clId="{256EFD73-6466-46D9-A78C-97031829346C}" dt="2023-10-20T07:42:35.798" v="9" actId="47"/>
        <pc:sldMkLst>
          <pc:docMk/>
          <pc:sldMk cId="4137056731" sldId="338"/>
        </pc:sldMkLst>
        <pc:spChg chg="del mod">
          <ac:chgData name="Virginie PONCET" userId="ebcd993a-a2ce-4546-82a8-b8fa2d7b77e1" providerId="ADAL" clId="{256EFD73-6466-46D9-A78C-97031829346C}" dt="2023-10-20T07:42:31.475" v="8" actId="478"/>
          <ac:spMkLst>
            <pc:docMk/>
            <pc:sldMk cId="4137056731" sldId="338"/>
            <ac:spMk id="2" creationId="{00000000-0000-0000-0000-000000000000}"/>
          </ac:spMkLst>
        </pc:spChg>
      </pc:sldChg>
      <pc:sldChg chg="addSp delSp modSp mod">
        <pc:chgData name="Virginie PONCET" userId="ebcd993a-a2ce-4546-82a8-b8fa2d7b77e1" providerId="ADAL" clId="{256EFD73-6466-46D9-A78C-97031829346C}" dt="2023-10-20T07:43:02.738" v="21" actId="478"/>
        <pc:sldMkLst>
          <pc:docMk/>
          <pc:sldMk cId="1619539151" sldId="339"/>
        </pc:sldMkLst>
        <pc:spChg chg="del">
          <ac:chgData name="Virginie PONCET" userId="ebcd993a-a2ce-4546-82a8-b8fa2d7b77e1" providerId="ADAL" clId="{256EFD73-6466-46D9-A78C-97031829346C}" dt="2023-10-20T07:42:59.679" v="20" actId="478"/>
          <ac:spMkLst>
            <pc:docMk/>
            <pc:sldMk cId="1619539151" sldId="339"/>
            <ac:spMk id="2" creationId="{00000000-0000-0000-0000-000000000000}"/>
          </ac:spMkLst>
        </pc:spChg>
        <pc:spChg chg="add del mod">
          <ac:chgData name="Virginie PONCET" userId="ebcd993a-a2ce-4546-82a8-b8fa2d7b77e1" providerId="ADAL" clId="{256EFD73-6466-46D9-A78C-97031829346C}" dt="2023-10-20T07:43:02.738" v="21" actId="478"/>
          <ac:spMkLst>
            <pc:docMk/>
            <pc:sldMk cId="1619539151" sldId="339"/>
            <ac:spMk id="6" creationId="{922E7F91-B4DC-CD69-E52F-12A868959DA4}"/>
          </ac:spMkLst>
        </pc:spChg>
      </pc:sldChg>
      <pc:sldChg chg="del">
        <pc:chgData name="Virginie PONCET" userId="ebcd993a-a2ce-4546-82a8-b8fa2d7b77e1" providerId="ADAL" clId="{256EFD73-6466-46D9-A78C-97031829346C}" dt="2023-10-20T07:42:48.916" v="16" actId="47"/>
        <pc:sldMkLst>
          <pc:docMk/>
          <pc:sldMk cId="3610177564" sldId="340"/>
        </pc:sldMkLst>
      </pc:sldChg>
      <pc:sldChg chg="del">
        <pc:chgData name="Virginie PONCET" userId="ebcd993a-a2ce-4546-82a8-b8fa2d7b77e1" providerId="ADAL" clId="{256EFD73-6466-46D9-A78C-97031829346C}" dt="2023-10-20T07:42:16.532" v="4" actId="47"/>
        <pc:sldMkLst>
          <pc:docMk/>
          <pc:sldMk cId="3619404808" sldId="342"/>
        </pc:sldMkLst>
      </pc:sldChg>
      <pc:sldChg chg="del">
        <pc:chgData name="Virginie PONCET" userId="ebcd993a-a2ce-4546-82a8-b8fa2d7b77e1" providerId="ADAL" clId="{256EFD73-6466-46D9-A78C-97031829346C}" dt="2023-10-20T07:42:16.042" v="3" actId="47"/>
        <pc:sldMkLst>
          <pc:docMk/>
          <pc:sldMk cId="3133806753" sldId="343"/>
        </pc:sldMkLst>
      </pc:sldChg>
      <pc:sldChg chg="del">
        <pc:chgData name="Virginie PONCET" userId="ebcd993a-a2ce-4546-82a8-b8fa2d7b77e1" providerId="ADAL" clId="{256EFD73-6466-46D9-A78C-97031829346C}" dt="2023-10-20T07:49:04.058" v="42" actId="47"/>
        <pc:sldMkLst>
          <pc:docMk/>
          <pc:sldMk cId="483477197" sldId="350"/>
        </pc:sldMkLst>
      </pc:sldChg>
      <pc:sldChg chg="del">
        <pc:chgData name="Virginie PONCET" userId="ebcd993a-a2ce-4546-82a8-b8fa2d7b77e1" providerId="ADAL" clId="{256EFD73-6466-46D9-A78C-97031829346C}" dt="2023-10-20T07:42:14.825" v="1" actId="47"/>
        <pc:sldMkLst>
          <pc:docMk/>
          <pc:sldMk cId="245274946" sldId="1580"/>
        </pc:sldMkLst>
      </pc:sldChg>
      <pc:sldChg chg="del">
        <pc:chgData name="Virginie PONCET" userId="ebcd993a-a2ce-4546-82a8-b8fa2d7b77e1" providerId="ADAL" clId="{256EFD73-6466-46D9-A78C-97031829346C}" dt="2023-10-20T07:42:15.638" v="2" actId="47"/>
        <pc:sldMkLst>
          <pc:docMk/>
          <pc:sldMk cId="4045257331" sldId="3955"/>
        </pc:sldMkLst>
      </pc:sldChg>
      <pc:sldChg chg="del">
        <pc:chgData name="Virginie PONCET" userId="ebcd993a-a2ce-4546-82a8-b8fa2d7b77e1" providerId="ADAL" clId="{256EFD73-6466-46D9-A78C-97031829346C}" dt="2023-10-20T07:49:03.588" v="41" actId="47"/>
        <pc:sldMkLst>
          <pc:docMk/>
          <pc:sldMk cId="1323574478" sldId="3956"/>
        </pc:sldMkLst>
      </pc:sldChg>
      <pc:sldChg chg="del">
        <pc:chgData name="Virginie PONCET" userId="ebcd993a-a2ce-4546-82a8-b8fa2d7b77e1" providerId="ADAL" clId="{256EFD73-6466-46D9-A78C-97031829346C}" dt="2023-10-20T07:42:50.445" v="18" actId="47"/>
        <pc:sldMkLst>
          <pc:docMk/>
          <pc:sldMk cId="3035570813" sldId="2142533734"/>
        </pc:sldMkLst>
      </pc:sldChg>
      <pc:sldChg chg="del">
        <pc:chgData name="Virginie PONCET" userId="ebcd993a-a2ce-4546-82a8-b8fa2d7b77e1" providerId="ADAL" clId="{256EFD73-6466-46D9-A78C-97031829346C}" dt="2023-10-20T07:42:54.014" v="19" actId="47"/>
        <pc:sldMkLst>
          <pc:docMk/>
          <pc:sldMk cId="950674748" sldId="2142533963"/>
        </pc:sldMkLst>
      </pc:sldChg>
      <pc:sldChg chg="modSp mod">
        <pc:chgData name="Virginie PONCET" userId="ebcd993a-a2ce-4546-82a8-b8fa2d7b77e1" providerId="ADAL" clId="{256EFD73-6466-46D9-A78C-97031829346C}" dt="2023-10-20T07:44:57.044" v="40" actId="1036"/>
        <pc:sldMkLst>
          <pc:docMk/>
          <pc:sldMk cId="3811174594" sldId="2142533965"/>
        </pc:sldMkLst>
        <pc:spChg chg="mod">
          <ac:chgData name="Virginie PONCET" userId="ebcd993a-a2ce-4546-82a8-b8fa2d7b77e1" providerId="ADAL" clId="{256EFD73-6466-46D9-A78C-97031829346C}" dt="2023-10-20T07:44:57.044" v="40" actId="1036"/>
          <ac:spMkLst>
            <pc:docMk/>
            <pc:sldMk cId="3811174594" sldId="2142533965"/>
            <ac:spMk id="28" creationId="{DE27D662-2220-BA3B-AF42-4BC6BA81F5D5}"/>
          </ac:spMkLst>
        </pc:spChg>
        <pc:spChg chg="mod">
          <ac:chgData name="Virginie PONCET" userId="ebcd993a-a2ce-4546-82a8-b8fa2d7b77e1" providerId="ADAL" clId="{256EFD73-6466-46D9-A78C-97031829346C}" dt="2023-10-20T07:43:57.309" v="30" actId="1035"/>
          <ac:spMkLst>
            <pc:docMk/>
            <pc:sldMk cId="3811174594" sldId="2142533965"/>
            <ac:spMk id="29" creationId="{96D4DB67-1152-CFDE-9CF0-0DE6A7BE9F0E}"/>
          </ac:spMkLst>
        </pc:spChg>
        <pc:spChg chg="mod">
          <ac:chgData name="Virginie PONCET" userId="ebcd993a-a2ce-4546-82a8-b8fa2d7b77e1" providerId="ADAL" clId="{256EFD73-6466-46D9-A78C-97031829346C}" dt="2023-10-20T07:44:06.653" v="33" actId="403"/>
          <ac:spMkLst>
            <pc:docMk/>
            <pc:sldMk cId="3811174594" sldId="2142533965"/>
            <ac:spMk id="33" creationId="{EF47E552-B87D-C0D5-360A-DC1474C8D5FF}"/>
          </ac:spMkLst>
        </pc:spChg>
        <pc:grpChg chg="mod">
          <ac:chgData name="Virginie PONCET" userId="ebcd993a-a2ce-4546-82a8-b8fa2d7b77e1" providerId="ADAL" clId="{256EFD73-6466-46D9-A78C-97031829346C}" dt="2023-10-20T07:43:19.865" v="23" actId="1076"/>
          <ac:grpSpMkLst>
            <pc:docMk/>
            <pc:sldMk cId="3811174594" sldId="2142533965"/>
            <ac:grpSpMk id="8" creationId="{90CEB3C4-D193-E976-E2BC-E17872D48857}"/>
          </ac:grpSpMkLst>
        </pc:grpChg>
      </pc:sldChg>
      <pc:sldMasterChg chg="delSldLayout">
        <pc:chgData name="Virginie PONCET" userId="ebcd993a-a2ce-4546-82a8-b8fa2d7b77e1" providerId="ADAL" clId="{256EFD73-6466-46D9-A78C-97031829346C}" dt="2023-10-20T07:42:44.955" v="15" actId="47"/>
        <pc:sldMasterMkLst>
          <pc:docMk/>
          <pc:sldMasterMk cId="0" sldId="2147483648"/>
        </pc:sldMasterMkLst>
        <pc:sldLayoutChg chg="del">
          <pc:chgData name="Virginie PONCET" userId="ebcd993a-a2ce-4546-82a8-b8fa2d7b77e1" providerId="ADAL" clId="{256EFD73-6466-46D9-A78C-97031829346C}" dt="2023-10-20T07:42:44.955" v="15" actId="47"/>
          <pc:sldLayoutMkLst>
            <pc:docMk/>
            <pc:sldMasterMk cId="0" sldId="2147483648"/>
            <pc:sldLayoutMk cId="3176935049" sldId="2147483796"/>
          </pc:sldLayoutMkLst>
        </pc:sldLayoutChg>
      </pc:sldMasterChg>
      <pc:sldMasterChg chg="del delSldLayout">
        <pc:chgData name="Virginie PONCET" userId="ebcd993a-a2ce-4546-82a8-b8fa2d7b77e1" providerId="ADAL" clId="{256EFD73-6466-46D9-A78C-97031829346C}" dt="2023-10-20T07:49:04.058" v="42" actId="47"/>
        <pc:sldMasterMkLst>
          <pc:docMk/>
          <pc:sldMasterMk cId="0" sldId="2147483719"/>
        </pc:sldMasterMkLst>
        <pc:sldLayoutChg chg="del">
          <pc:chgData name="Virginie PONCET" userId="ebcd993a-a2ce-4546-82a8-b8fa2d7b77e1" providerId="ADAL" clId="{256EFD73-6466-46D9-A78C-97031829346C}" dt="2023-10-20T07:49:04.058" v="42" actId="47"/>
          <pc:sldLayoutMkLst>
            <pc:docMk/>
            <pc:sldMasterMk cId="0" sldId="2147483719"/>
            <pc:sldLayoutMk cId="1428033082" sldId="2147483663"/>
          </pc:sldLayoutMkLst>
        </pc:sldLayoutChg>
        <pc:sldLayoutChg chg="del">
          <pc:chgData name="Virginie PONCET" userId="ebcd993a-a2ce-4546-82a8-b8fa2d7b77e1" providerId="ADAL" clId="{256EFD73-6466-46D9-A78C-97031829346C}" dt="2023-10-20T07:49:04.058" v="42" actId="47"/>
          <pc:sldLayoutMkLst>
            <pc:docMk/>
            <pc:sldMasterMk cId="0" sldId="2147483719"/>
            <pc:sldLayoutMk cId="3942659167" sldId="2147483664"/>
          </pc:sldLayoutMkLst>
        </pc:sldLayoutChg>
        <pc:sldLayoutChg chg="del">
          <pc:chgData name="Virginie PONCET" userId="ebcd993a-a2ce-4546-82a8-b8fa2d7b77e1" providerId="ADAL" clId="{256EFD73-6466-46D9-A78C-97031829346C}" dt="2023-10-20T07:49:04.058" v="42" actId="47"/>
          <pc:sldLayoutMkLst>
            <pc:docMk/>
            <pc:sldMasterMk cId="0" sldId="2147483719"/>
            <pc:sldLayoutMk cId="4219391455" sldId="2147483665"/>
          </pc:sldLayoutMkLst>
        </pc:sldLayoutChg>
        <pc:sldLayoutChg chg="del">
          <pc:chgData name="Virginie PONCET" userId="ebcd993a-a2ce-4546-82a8-b8fa2d7b77e1" providerId="ADAL" clId="{256EFD73-6466-46D9-A78C-97031829346C}" dt="2023-10-20T07:49:04.058" v="42" actId="47"/>
          <pc:sldLayoutMkLst>
            <pc:docMk/>
            <pc:sldMasterMk cId="0" sldId="2147483719"/>
            <pc:sldLayoutMk cId="1619616855" sldId="2147483669"/>
          </pc:sldLayoutMkLst>
        </pc:sldLayoutChg>
        <pc:sldLayoutChg chg="del">
          <pc:chgData name="Virginie PONCET" userId="ebcd993a-a2ce-4546-82a8-b8fa2d7b77e1" providerId="ADAL" clId="{256EFD73-6466-46D9-A78C-97031829346C}" dt="2023-10-20T07:49:04.058" v="42" actId="47"/>
          <pc:sldLayoutMkLst>
            <pc:docMk/>
            <pc:sldMasterMk cId="0" sldId="2147483719"/>
            <pc:sldLayoutMk cId="4049993786" sldId="2147483670"/>
          </pc:sldLayoutMkLst>
        </pc:sldLayoutChg>
        <pc:sldLayoutChg chg="del">
          <pc:chgData name="Virginie PONCET" userId="ebcd993a-a2ce-4546-82a8-b8fa2d7b77e1" providerId="ADAL" clId="{256EFD73-6466-46D9-A78C-97031829346C}" dt="2023-10-20T07:49:04.058" v="42" actId="47"/>
          <pc:sldLayoutMkLst>
            <pc:docMk/>
            <pc:sldMasterMk cId="0" sldId="2147483719"/>
            <pc:sldLayoutMk cId="539271068" sldId="2147483672"/>
          </pc:sldLayoutMkLst>
        </pc:sldLayoutChg>
        <pc:sldLayoutChg chg="del">
          <pc:chgData name="Virginie PONCET" userId="ebcd993a-a2ce-4546-82a8-b8fa2d7b77e1" providerId="ADAL" clId="{256EFD73-6466-46D9-A78C-97031829346C}" dt="2023-10-20T07:49:04.058" v="42" actId="47"/>
          <pc:sldLayoutMkLst>
            <pc:docMk/>
            <pc:sldMasterMk cId="0" sldId="2147483719"/>
            <pc:sldLayoutMk cId="1534593297" sldId="2147483675"/>
          </pc:sldLayoutMkLst>
        </pc:sldLayoutChg>
        <pc:sldLayoutChg chg="del">
          <pc:chgData name="Virginie PONCET" userId="ebcd993a-a2ce-4546-82a8-b8fa2d7b77e1" providerId="ADAL" clId="{256EFD73-6466-46D9-A78C-97031829346C}" dt="2023-10-20T07:49:04.058" v="42" actId="47"/>
          <pc:sldLayoutMkLst>
            <pc:docMk/>
            <pc:sldMasterMk cId="0" sldId="2147483719"/>
            <pc:sldLayoutMk cId="253870291" sldId="2147483677"/>
          </pc:sldLayoutMkLst>
        </pc:sldLayoutChg>
        <pc:sldLayoutChg chg="del">
          <pc:chgData name="Virginie PONCET" userId="ebcd993a-a2ce-4546-82a8-b8fa2d7b77e1" providerId="ADAL" clId="{256EFD73-6466-46D9-A78C-97031829346C}" dt="2023-10-20T07:49:04.058" v="42" actId="47"/>
          <pc:sldLayoutMkLst>
            <pc:docMk/>
            <pc:sldMasterMk cId="0" sldId="2147483719"/>
            <pc:sldLayoutMk cId="1231994420" sldId="2147483678"/>
          </pc:sldLayoutMkLst>
        </pc:sldLayoutChg>
        <pc:sldLayoutChg chg="del">
          <pc:chgData name="Virginie PONCET" userId="ebcd993a-a2ce-4546-82a8-b8fa2d7b77e1" providerId="ADAL" clId="{256EFD73-6466-46D9-A78C-97031829346C}" dt="2023-10-20T07:49:04.058" v="42" actId="47"/>
          <pc:sldLayoutMkLst>
            <pc:docMk/>
            <pc:sldMasterMk cId="0" sldId="2147483719"/>
            <pc:sldLayoutMk cId="1839875260" sldId="2147483679"/>
          </pc:sldLayoutMkLst>
        </pc:sldLayoutChg>
        <pc:sldLayoutChg chg="del">
          <pc:chgData name="Virginie PONCET" userId="ebcd993a-a2ce-4546-82a8-b8fa2d7b77e1" providerId="ADAL" clId="{256EFD73-6466-46D9-A78C-97031829346C}" dt="2023-10-20T07:49:04.058" v="42" actId="47"/>
          <pc:sldLayoutMkLst>
            <pc:docMk/>
            <pc:sldMasterMk cId="0" sldId="2147483719"/>
            <pc:sldLayoutMk cId="4204355829" sldId="2147483680"/>
          </pc:sldLayoutMkLst>
        </pc:sldLayoutChg>
        <pc:sldLayoutChg chg="del">
          <pc:chgData name="Virginie PONCET" userId="ebcd993a-a2ce-4546-82a8-b8fa2d7b77e1" providerId="ADAL" clId="{256EFD73-6466-46D9-A78C-97031829346C}" dt="2023-10-20T07:49:04.058" v="42" actId="47"/>
          <pc:sldLayoutMkLst>
            <pc:docMk/>
            <pc:sldMasterMk cId="0" sldId="2147483719"/>
            <pc:sldLayoutMk cId="2210876977" sldId="2147483681"/>
          </pc:sldLayoutMkLst>
        </pc:sldLayoutChg>
        <pc:sldLayoutChg chg="del">
          <pc:chgData name="Virginie PONCET" userId="ebcd993a-a2ce-4546-82a8-b8fa2d7b77e1" providerId="ADAL" clId="{256EFD73-6466-46D9-A78C-97031829346C}" dt="2023-10-20T07:49:04.058" v="42" actId="47"/>
          <pc:sldLayoutMkLst>
            <pc:docMk/>
            <pc:sldMasterMk cId="0" sldId="2147483719"/>
            <pc:sldLayoutMk cId="25583666" sldId="2147483682"/>
          </pc:sldLayoutMkLst>
        </pc:sldLayoutChg>
        <pc:sldLayoutChg chg="del">
          <pc:chgData name="Virginie PONCET" userId="ebcd993a-a2ce-4546-82a8-b8fa2d7b77e1" providerId="ADAL" clId="{256EFD73-6466-46D9-A78C-97031829346C}" dt="2023-10-20T07:49:04.058" v="42" actId="47"/>
          <pc:sldLayoutMkLst>
            <pc:docMk/>
            <pc:sldMasterMk cId="0" sldId="2147483719"/>
            <pc:sldLayoutMk cId="713409939" sldId="2147483683"/>
          </pc:sldLayoutMkLst>
        </pc:sldLayoutChg>
        <pc:sldLayoutChg chg="del">
          <pc:chgData name="Virginie PONCET" userId="ebcd993a-a2ce-4546-82a8-b8fa2d7b77e1" providerId="ADAL" clId="{256EFD73-6466-46D9-A78C-97031829346C}" dt="2023-10-20T07:49:04.058" v="42" actId="47"/>
          <pc:sldLayoutMkLst>
            <pc:docMk/>
            <pc:sldMasterMk cId="0" sldId="2147483719"/>
            <pc:sldLayoutMk cId="3896867069" sldId="2147483684"/>
          </pc:sldLayoutMkLst>
        </pc:sldLayoutChg>
        <pc:sldLayoutChg chg="del">
          <pc:chgData name="Virginie PONCET" userId="ebcd993a-a2ce-4546-82a8-b8fa2d7b77e1" providerId="ADAL" clId="{256EFD73-6466-46D9-A78C-97031829346C}" dt="2023-10-20T07:49:04.058" v="42" actId="47"/>
          <pc:sldLayoutMkLst>
            <pc:docMk/>
            <pc:sldMasterMk cId="0" sldId="2147483719"/>
            <pc:sldLayoutMk cId="1071636659" sldId="2147483685"/>
          </pc:sldLayoutMkLst>
        </pc:sldLayoutChg>
        <pc:sldLayoutChg chg="del">
          <pc:chgData name="Virginie PONCET" userId="ebcd993a-a2ce-4546-82a8-b8fa2d7b77e1" providerId="ADAL" clId="{256EFD73-6466-46D9-A78C-97031829346C}" dt="2023-10-20T07:49:04.058" v="42" actId="47"/>
          <pc:sldLayoutMkLst>
            <pc:docMk/>
            <pc:sldMasterMk cId="0" sldId="2147483719"/>
            <pc:sldLayoutMk cId="963254220" sldId="2147483686"/>
          </pc:sldLayoutMkLst>
        </pc:sldLayoutChg>
        <pc:sldLayoutChg chg="del">
          <pc:chgData name="Virginie PONCET" userId="ebcd993a-a2ce-4546-82a8-b8fa2d7b77e1" providerId="ADAL" clId="{256EFD73-6466-46D9-A78C-97031829346C}" dt="2023-10-20T07:49:04.058" v="42" actId="47"/>
          <pc:sldLayoutMkLst>
            <pc:docMk/>
            <pc:sldMasterMk cId="0" sldId="2147483719"/>
            <pc:sldLayoutMk cId="0" sldId="2147483720"/>
          </pc:sldLayoutMkLst>
        </pc:sldLayoutChg>
        <pc:sldLayoutChg chg="del">
          <pc:chgData name="Virginie PONCET" userId="ebcd993a-a2ce-4546-82a8-b8fa2d7b77e1" providerId="ADAL" clId="{256EFD73-6466-46D9-A78C-97031829346C}" dt="2023-10-20T07:49:04.058" v="42" actId="47"/>
          <pc:sldLayoutMkLst>
            <pc:docMk/>
            <pc:sldMasterMk cId="0" sldId="2147483719"/>
            <pc:sldLayoutMk cId="2637598553" sldId="2147483752"/>
          </pc:sldLayoutMkLst>
        </pc:sldLayoutChg>
        <pc:sldLayoutChg chg="del">
          <pc:chgData name="Virginie PONCET" userId="ebcd993a-a2ce-4546-82a8-b8fa2d7b77e1" providerId="ADAL" clId="{256EFD73-6466-46D9-A78C-97031829346C}" dt="2023-10-20T07:49:04.058" v="42" actId="47"/>
          <pc:sldLayoutMkLst>
            <pc:docMk/>
            <pc:sldMasterMk cId="0" sldId="2147483719"/>
            <pc:sldLayoutMk cId="3523817825" sldId="2147483753"/>
          </pc:sldLayoutMkLst>
        </pc:sldLayoutChg>
        <pc:sldLayoutChg chg="del">
          <pc:chgData name="Virginie PONCET" userId="ebcd993a-a2ce-4546-82a8-b8fa2d7b77e1" providerId="ADAL" clId="{256EFD73-6466-46D9-A78C-97031829346C}" dt="2023-10-20T07:49:04.058" v="42" actId="47"/>
          <pc:sldLayoutMkLst>
            <pc:docMk/>
            <pc:sldMasterMk cId="0" sldId="2147483719"/>
            <pc:sldLayoutMk cId="2458386468" sldId="2147483754"/>
          </pc:sldLayoutMkLst>
        </pc:sldLayoutChg>
        <pc:sldLayoutChg chg="del">
          <pc:chgData name="Virginie PONCET" userId="ebcd993a-a2ce-4546-82a8-b8fa2d7b77e1" providerId="ADAL" clId="{256EFD73-6466-46D9-A78C-97031829346C}" dt="2023-10-20T07:49:04.058" v="42" actId="47"/>
          <pc:sldLayoutMkLst>
            <pc:docMk/>
            <pc:sldMasterMk cId="0" sldId="2147483719"/>
            <pc:sldLayoutMk cId="1924702481" sldId="2147483756"/>
          </pc:sldLayoutMkLst>
        </pc:sldLayoutChg>
        <pc:sldLayoutChg chg="del">
          <pc:chgData name="Virginie PONCET" userId="ebcd993a-a2ce-4546-82a8-b8fa2d7b77e1" providerId="ADAL" clId="{256EFD73-6466-46D9-A78C-97031829346C}" dt="2023-10-20T07:49:04.058" v="42" actId="47"/>
          <pc:sldLayoutMkLst>
            <pc:docMk/>
            <pc:sldMasterMk cId="0" sldId="2147483719"/>
            <pc:sldLayoutMk cId="3538569769" sldId="2147483763"/>
          </pc:sldLayoutMkLst>
        </pc:sldLayoutChg>
        <pc:sldLayoutChg chg="del">
          <pc:chgData name="Virginie PONCET" userId="ebcd993a-a2ce-4546-82a8-b8fa2d7b77e1" providerId="ADAL" clId="{256EFD73-6466-46D9-A78C-97031829346C}" dt="2023-10-20T07:49:04.058" v="42" actId="47"/>
          <pc:sldLayoutMkLst>
            <pc:docMk/>
            <pc:sldMasterMk cId="0" sldId="2147483719"/>
            <pc:sldLayoutMk cId="1438041211" sldId="2147483764"/>
          </pc:sldLayoutMkLst>
        </pc:sldLayoutChg>
        <pc:sldLayoutChg chg="del">
          <pc:chgData name="Virginie PONCET" userId="ebcd993a-a2ce-4546-82a8-b8fa2d7b77e1" providerId="ADAL" clId="{256EFD73-6466-46D9-A78C-97031829346C}" dt="2023-10-20T07:49:04.058" v="42" actId="47"/>
          <pc:sldLayoutMkLst>
            <pc:docMk/>
            <pc:sldMasterMk cId="0" sldId="2147483719"/>
            <pc:sldLayoutMk cId="1465287913" sldId="2147483773"/>
          </pc:sldLayoutMkLst>
        </pc:sldLayoutChg>
        <pc:sldLayoutChg chg="del">
          <pc:chgData name="Virginie PONCET" userId="ebcd993a-a2ce-4546-82a8-b8fa2d7b77e1" providerId="ADAL" clId="{256EFD73-6466-46D9-A78C-97031829346C}" dt="2023-10-20T07:49:04.058" v="42" actId="47"/>
          <pc:sldLayoutMkLst>
            <pc:docMk/>
            <pc:sldMasterMk cId="0" sldId="2147483719"/>
            <pc:sldLayoutMk cId="376095798" sldId="2147483774"/>
          </pc:sldLayoutMkLst>
        </pc:sldLayoutChg>
        <pc:sldLayoutChg chg="del">
          <pc:chgData name="Virginie PONCET" userId="ebcd993a-a2ce-4546-82a8-b8fa2d7b77e1" providerId="ADAL" clId="{256EFD73-6466-46D9-A78C-97031829346C}" dt="2023-10-20T07:49:04.058" v="42" actId="47"/>
          <pc:sldLayoutMkLst>
            <pc:docMk/>
            <pc:sldMasterMk cId="0" sldId="2147483719"/>
            <pc:sldLayoutMk cId="3203796131" sldId="2147483775"/>
          </pc:sldLayoutMkLst>
        </pc:sldLayoutChg>
      </pc:sldMasterChg>
      <pc:sldMasterChg chg="del delSldLayout">
        <pc:chgData name="Virginie PONCET" userId="ebcd993a-a2ce-4546-82a8-b8fa2d7b77e1" providerId="ADAL" clId="{256EFD73-6466-46D9-A78C-97031829346C}" dt="2023-10-20T07:42:15.638" v="2" actId="47"/>
        <pc:sldMasterMkLst>
          <pc:docMk/>
          <pc:sldMasterMk cId="0" sldId="2147483776"/>
        </pc:sldMasterMkLst>
        <pc:sldLayoutChg chg="del">
          <pc:chgData name="Virginie PONCET" userId="ebcd993a-a2ce-4546-82a8-b8fa2d7b77e1" providerId="ADAL" clId="{256EFD73-6466-46D9-A78C-97031829346C}" dt="2023-10-20T07:42:15.638" v="2" actId="47"/>
          <pc:sldLayoutMkLst>
            <pc:docMk/>
            <pc:sldMasterMk cId="0" sldId="2147483776"/>
            <pc:sldLayoutMk cId="0" sldId="2147483740"/>
          </pc:sldLayoutMkLst>
        </pc:sldLayoutChg>
        <pc:sldLayoutChg chg="del">
          <pc:chgData name="Virginie PONCET" userId="ebcd993a-a2ce-4546-82a8-b8fa2d7b77e1" providerId="ADAL" clId="{256EFD73-6466-46D9-A78C-97031829346C}" dt="2023-10-20T07:42:15.638" v="2" actId="47"/>
          <pc:sldLayoutMkLst>
            <pc:docMk/>
            <pc:sldMasterMk cId="0" sldId="2147483776"/>
            <pc:sldLayoutMk cId="0" sldId="2147483741"/>
          </pc:sldLayoutMkLst>
        </pc:sldLayoutChg>
        <pc:sldLayoutChg chg="del">
          <pc:chgData name="Virginie PONCET" userId="ebcd993a-a2ce-4546-82a8-b8fa2d7b77e1" providerId="ADAL" clId="{256EFD73-6466-46D9-A78C-97031829346C}" dt="2023-10-20T07:42:15.638" v="2" actId="47"/>
          <pc:sldLayoutMkLst>
            <pc:docMk/>
            <pc:sldMasterMk cId="0" sldId="2147483776"/>
            <pc:sldLayoutMk cId="0" sldId="2147483742"/>
          </pc:sldLayoutMkLst>
        </pc:sldLayoutChg>
        <pc:sldLayoutChg chg="del">
          <pc:chgData name="Virginie PONCET" userId="ebcd993a-a2ce-4546-82a8-b8fa2d7b77e1" providerId="ADAL" clId="{256EFD73-6466-46D9-A78C-97031829346C}" dt="2023-10-20T07:42:15.638" v="2" actId="47"/>
          <pc:sldLayoutMkLst>
            <pc:docMk/>
            <pc:sldMasterMk cId="0" sldId="2147483776"/>
            <pc:sldLayoutMk cId="0" sldId="2147483743"/>
          </pc:sldLayoutMkLst>
        </pc:sldLayoutChg>
        <pc:sldLayoutChg chg="del">
          <pc:chgData name="Virginie PONCET" userId="ebcd993a-a2ce-4546-82a8-b8fa2d7b77e1" providerId="ADAL" clId="{256EFD73-6466-46D9-A78C-97031829346C}" dt="2023-10-20T07:42:15.638" v="2" actId="47"/>
          <pc:sldLayoutMkLst>
            <pc:docMk/>
            <pc:sldMasterMk cId="0" sldId="2147483776"/>
            <pc:sldLayoutMk cId="0" sldId="2147483744"/>
          </pc:sldLayoutMkLst>
        </pc:sldLayoutChg>
        <pc:sldLayoutChg chg="del">
          <pc:chgData name="Virginie PONCET" userId="ebcd993a-a2ce-4546-82a8-b8fa2d7b77e1" providerId="ADAL" clId="{256EFD73-6466-46D9-A78C-97031829346C}" dt="2023-10-20T07:42:15.638" v="2" actId="47"/>
          <pc:sldLayoutMkLst>
            <pc:docMk/>
            <pc:sldMasterMk cId="0" sldId="2147483776"/>
            <pc:sldLayoutMk cId="0" sldId="2147483745"/>
          </pc:sldLayoutMkLst>
        </pc:sldLayoutChg>
        <pc:sldLayoutChg chg="del">
          <pc:chgData name="Virginie PONCET" userId="ebcd993a-a2ce-4546-82a8-b8fa2d7b77e1" providerId="ADAL" clId="{256EFD73-6466-46D9-A78C-97031829346C}" dt="2023-10-20T07:42:15.638" v="2" actId="47"/>
          <pc:sldLayoutMkLst>
            <pc:docMk/>
            <pc:sldMasterMk cId="0" sldId="2147483776"/>
            <pc:sldLayoutMk cId="0" sldId="2147483746"/>
          </pc:sldLayoutMkLst>
        </pc:sldLayoutChg>
        <pc:sldLayoutChg chg="del">
          <pc:chgData name="Virginie PONCET" userId="ebcd993a-a2ce-4546-82a8-b8fa2d7b77e1" providerId="ADAL" clId="{256EFD73-6466-46D9-A78C-97031829346C}" dt="2023-10-20T07:42:15.638" v="2" actId="47"/>
          <pc:sldLayoutMkLst>
            <pc:docMk/>
            <pc:sldMasterMk cId="0" sldId="2147483776"/>
            <pc:sldLayoutMk cId="0" sldId="2147483747"/>
          </pc:sldLayoutMkLst>
        </pc:sldLayoutChg>
        <pc:sldLayoutChg chg="del">
          <pc:chgData name="Virginie PONCET" userId="ebcd993a-a2ce-4546-82a8-b8fa2d7b77e1" providerId="ADAL" clId="{256EFD73-6466-46D9-A78C-97031829346C}" dt="2023-10-20T07:42:15.638" v="2" actId="47"/>
          <pc:sldLayoutMkLst>
            <pc:docMk/>
            <pc:sldMasterMk cId="0" sldId="2147483776"/>
            <pc:sldLayoutMk cId="3658310695" sldId="2147483748"/>
          </pc:sldLayoutMkLst>
        </pc:sldLayoutChg>
        <pc:sldLayoutChg chg="del">
          <pc:chgData name="Virginie PONCET" userId="ebcd993a-a2ce-4546-82a8-b8fa2d7b77e1" providerId="ADAL" clId="{256EFD73-6466-46D9-A78C-97031829346C}" dt="2023-10-20T07:42:15.638" v="2" actId="47"/>
          <pc:sldLayoutMkLst>
            <pc:docMk/>
            <pc:sldMasterMk cId="0" sldId="2147483776"/>
            <pc:sldLayoutMk cId="0" sldId="2147483777"/>
          </pc:sldLayoutMkLst>
        </pc:sldLayoutChg>
        <pc:sldLayoutChg chg="del">
          <pc:chgData name="Virginie PONCET" userId="ebcd993a-a2ce-4546-82a8-b8fa2d7b77e1" providerId="ADAL" clId="{256EFD73-6466-46D9-A78C-97031829346C}" dt="2023-10-20T07:42:15.638" v="2" actId="47"/>
          <pc:sldLayoutMkLst>
            <pc:docMk/>
            <pc:sldMasterMk cId="0" sldId="2147483776"/>
            <pc:sldLayoutMk cId="2342783591" sldId="2147483778"/>
          </pc:sldLayoutMkLst>
        </pc:sldLayoutChg>
        <pc:sldLayoutChg chg="del">
          <pc:chgData name="Virginie PONCET" userId="ebcd993a-a2ce-4546-82a8-b8fa2d7b77e1" providerId="ADAL" clId="{256EFD73-6466-46D9-A78C-97031829346C}" dt="2023-10-20T07:42:15.638" v="2" actId="47"/>
          <pc:sldLayoutMkLst>
            <pc:docMk/>
            <pc:sldMasterMk cId="0" sldId="2147483776"/>
            <pc:sldLayoutMk cId="703205203" sldId="2147483779"/>
          </pc:sldLayoutMkLst>
        </pc:sldLayoutChg>
        <pc:sldLayoutChg chg="del">
          <pc:chgData name="Virginie PONCET" userId="ebcd993a-a2ce-4546-82a8-b8fa2d7b77e1" providerId="ADAL" clId="{256EFD73-6466-46D9-A78C-97031829346C}" dt="2023-10-20T07:42:15.638" v="2" actId="47"/>
          <pc:sldLayoutMkLst>
            <pc:docMk/>
            <pc:sldMasterMk cId="0" sldId="2147483776"/>
            <pc:sldLayoutMk cId="1142282616" sldId="2147483780"/>
          </pc:sldLayoutMkLst>
        </pc:sldLayoutChg>
        <pc:sldLayoutChg chg="del">
          <pc:chgData name="Virginie PONCET" userId="ebcd993a-a2ce-4546-82a8-b8fa2d7b77e1" providerId="ADAL" clId="{256EFD73-6466-46D9-A78C-97031829346C}" dt="2023-10-20T07:42:15.638" v="2" actId="47"/>
          <pc:sldLayoutMkLst>
            <pc:docMk/>
            <pc:sldMasterMk cId="0" sldId="2147483776"/>
            <pc:sldLayoutMk cId="2494523797" sldId="2147483781"/>
          </pc:sldLayoutMkLst>
        </pc:sldLayoutChg>
        <pc:sldLayoutChg chg="del">
          <pc:chgData name="Virginie PONCET" userId="ebcd993a-a2ce-4546-82a8-b8fa2d7b77e1" providerId="ADAL" clId="{256EFD73-6466-46D9-A78C-97031829346C}" dt="2023-10-20T07:42:15.638" v="2" actId="47"/>
          <pc:sldLayoutMkLst>
            <pc:docMk/>
            <pc:sldMasterMk cId="0" sldId="2147483776"/>
            <pc:sldLayoutMk cId="919164368" sldId="2147483782"/>
          </pc:sldLayoutMkLst>
        </pc:sldLayoutChg>
        <pc:sldLayoutChg chg="del">
          <pc:chgData name="Virginie PONCET" userId="ebcd993a-a2ce-4546-82a8-b8fa2d7b77e1" providerId="ADAL" clId="{256EFD73-6466-46D9-A78C-97031829346C}" dt="2023-10-20T07:42:15.638" v="2" actId="47"/>
          <pc:sldLayoutMkLst>
            <pc:docMk/>
            <pc:sldMasterMk cId="0" sldId="2147483776"/>
            <pc:sldLayoutMk cId="2498039212" sldId="2147483783"/>
          </pc:sldLayoutMkLst>
        </pc:sldLayoutChg>
        <pc:sldLayoutChg chg="del">
          <pc:chgData name="Virginie PONCET" userId="ebcd993a-a2ce-4546-82a8-b8fa2d7b77e1" providerId="ADAL" clId="{256EFD73-6466-46D9-A78C-97031829346C}" dt="2023-10-20T07:42:15.638" v="2" actId="47"/>
          <pc:sldLayoutMkLst>
            <pc:docMk/>
            <pc:sldMasterMk cId="0" sldId="2147483776"/>
            <pc:sldLayoutMk cId="1986426206" sldId="2147483784"/>
          </pc:sldLayoutMkLst>
        </pc:sldLayoutChg>
        <pc:sldLayoutChg chg="del">
          <pc:chgData name="Virginie PONCET" userId="ebcd993a-a2ce-4546-82a8-b8fa2d7b77e1" providerId="ADAL" clId="{256EFD73-6466-46D9-A78C-97031829346C}" dt="2023-10-20T07:42:15.638" v="2" actId="47"/>
          <pc:sldLayoutMkLst>
            <pc:docMk/>
            <pc:sldMasterMk cId="0" sldId="2147483776"/>
            <pc:sldLayoutMk cId="0" sldId="2147483785"/>
          </pc:sldLayoutMkLst>
        </pc:sldLayoutChg>
        <pc:sldLayoutChg chg="del">
          <pc:chgData name="Virginie PONCET" userId="ebcd993a-a2ce-4546-82a8-b8fa2d7b77e1" providerId="ADAL" clId="{256EFD73-6466-46D9-A78C-97031829346C}" dt="2023-10-20T07:42:15.638" v="2" actId="47"/>
          <pc:sldLayoutMkLst>
            <pc:docMk/>
            <pc:sldMasterMk cId="0" sldId="2147483776"/>
            <pc:sldLayoutMk cId="4072754290" sldId="2147483786"/>
          </pc:sldLayoutMkLst>
        </pc:sldLayoutChg>
        <pc:sldLayoutChg chg="del">
          <pc:chgData name="Virginie PONCET" userId="ebcd993a-a2ce-4546-82a8-b8fa2d7b77e1" providerId="ADAL" clId="{256EFD73-6466-46D9-A78C-97031829346C}" dt="2023-10-20T07:42:15.638" v="2" actId="47"/>
          <pc:sldLayoutMkLst>
            <pc:docMk/>
            <pc:sldMasterMk cId="0" sldId="2147483776"/>
            <pc:sldLayoutMk cId="3349151917" sldId="2147483787"/>
          </pc:sldLayoutMkLst>
        </pc:sldLayoutChg>
        <pc:sldLayoutChg chg="del">
          <pc:chgData name="Virginie PONCET" userId="ebcd993a-a2ce-4546-82a8-b8fa2d7b77e1" providerId="ADAL" clId="{256EFD73-6466-46D9-A78C-97031829346C}" dt="2023-10-20T07:42:15.638" v="2" actId="47"/>
          <pc:sldLayoutMkLst>
            <pc:docMk/>
            <pc:sldMasterMk cId="0" sldId="2147483776"/>
            <pc:sldLayoutMk cId="3844626349" sldId="2147483788"/>
          </pc:sldLayoutMkLst>
        </pc:sldLayoutChg>
        <pc:sldLayoutChg chg="del">
          <pc:chgData name="Virginie PONCET" userId="ebcd993a-a2ce-4546-82a8-b8fa2d7b77e1" providerId="ADAL" clId="{256EFD73-6466-46D9-A78C-97031829346C}" dt="2023-10-20T07:42:15.638" v="2" actId="47"/>
          <pc:sldLayoutMkLst>
            <pc:docMk/>
            <pc:sldMasterMk cId="0" sldId="2147483776"/>
            <pc:sldLayoutMk cId="1825413448" sldId="2147483789"/>
          </pc:sldLayoutMkLst>
        </pc:sldLayoutChg>
        <pc:sldLayoutChg chg="del">
          <pc:chgData name="Virginie PONCET" userId="ebcd993a-a2ce-4546-82a8-b8fa2d7b77e1" providerId="ADAL" clId="{256EFD73-6466-46D9-A78C-97031829346C}" dt="2023-10-20T07:42:15.638" v="2" actId="47"/>
          <pc:sldLayoutMkLst>
            <pc:docMk/>
            <pc:sldMasterMk cId="0" sldId="2147483776"/>
            <pc:sldLayoutMk cId="731766671" sldId="2147483790"/>
          </pc:sldLayoutMkLst>
        </pc:sldLayoutChg>
        <pc:sldLayoutChg chg="del">
          <pc:chgData name="Virginie PONCET" userId="ebcd993a-a2ce-4546-82a8-b8fa2d7b77e1" providerId="ADAL" clId="{256EFD73-6466-46D9-A78C-97031829346C}" dt="2023-10-20T07:42:15.638" v="2" actId="47"/>
          <pc:sldLayoutMkLst>
            <pc:docMk/>
            <pc:sldMasterMk cId="0" sldId="2147483776"/>
            <pc:sldLayoutMk cId="1144610768" sldId="2147483791"/>
          </pc:sldLayoutMkLst>
        </pc:sldLayoutChg>
        <pc:sldLayoutChg chg="del">
          <pc:chgData name="Virginie PONCET" userId="ebcd993a-a2ce-4546-82a8-b8fa2d7b77e1" providerId="ADAL" clId="{256EFD73-6466-46D9-A78C-97031829346C}" dt="2023-10-20T07:42:15.638" v="2" actId="47"/>
          <pc:sldLayoutMkLst>
            <pc:docMk/>
            <pc:sldMasterMk cId="0" sldId="2147483776"/>
            <pc:sldLayoutMk cId="3573507931" sldId="2147483792"/>
          </pc:sldLayoutMkLst>
        </pc:sldLayoutChg>
        <pc:sldLayoutChg chg="del">
          <pc:chgData name="Virginie PONCET" userId="ebcd993a-a2ce-4546-82a8-b8fa2d7b77e1" providerId="ADAL" clId="{256EFD73-6466-46D9-A78C-97031829346C}" dt="2023-10-20T07:42:15.638" v="2" actId="47"/>
          <pc:sldLayoutMkLst>
            <pc:docMk/>
            <pc:sldMasterMk cId="0" sldId="2147483776"/>
            <pc:sldLayoutMk cId="2722654758" sldId="2147483793"/>
          </pc:sldLayoutMkLst>
        </pc:sldLayoutChg>
        <pc:sldLayoutChg chg="del">
          <pc:chgData name="Virginie PONCET" userId="ebcd993a-a2ce-4546-82a8-b8fa2d7b77e1" providerId="ADAL" clId="{256EFD73-6466-46D9-A78C-97031829346C}" dt="2023-10-20T07:42:15.638" v="2" actId="47"/>
          <pc:sldLayoutMkLst>
            <pc:docMk/>
            <pc:sldMasterMk cId="0" sldId="2147483776"/>
            <pc:sldLayoutMk cId="2182212720" sldId="2147483794"/>
          </pc:sldLayoutMkLst>
        </pc:sldLayoutChg>
      </pc:sldMasterChg>
      <pc:sldMasterChg chg="del delSldLayout">
        <pc:chgData name="Virginie PONCET" userId="ebcd993a-a2ce-4546-82a8-b8fa2d7b77e1" providerId="ADAL" clId="{256EFD73-6466-46D9-A78C-97031829346C}" dt="2023-10-20T07:42:50.445" v="18" actId="47"/>
        <pc:sldMasterMkLst>
          <pc:docMk/>
          <pc:sldMasterMk cId="1896801691" sldId="2147483797"/>
        </pc:sldMasterMkLst>
        <pc:sldLayoutChg chg="del">
          <pc:chgData name="Virginie PONCET" userId="ebcd993a-a2ce-4546-82a8-b8fa2d7b77e1" providerId="ADAL" clId="{256EFD73-6466-46D9-A78C-97031829346C}" dt="2023-10-20T07:42:50.445" v="18" actId="47"/>
          <pc:sldLayoutMkLst>
            <pc:docMk/>
            <pc:sldMasterMk cId="1896801691" sldId="2147483797"/>
            <pc:sldLayoutMk cId="1254559705" sldId="2147483798"/>
          </pc:sldLayoutMkLst>
        </pc:sldLayoutChg>
        <pc:sldLayoutChg chg="del">
          <pc:chgData name="Virginie PONCET" userId="ebcd993a-a2ce-4546-82a8-b8fa2d7b77e1" providerId="ADAL" clId="{256EFD73-6466-46D9-A78C-97031829346C}" dt="2023-10-20T07:42:50.445" v="18" actId="47"/>
          <pc:sldLayoutMkLst>
            <pc:docMk/>
            <pc:sldMasterMk cId="1896801691" sldId="2147483797"/>
            <pc:sldLayoutMk cId="2597774702" sldId="2147483799"/>
          </pc:sldLayoutMkLst>
        </pc:sldLayoutChg>
        <pc:sldLayoutChg chg="del">
          <pc:chgData name="Virginie PONCET" userId="ebcd993a-a2ce-4546-82a8-b8fa2d7b77e1" providerId="ADAL" clId="{256EFD73-6466-46D9-A78C-97031829346C}" dt="2023-10-20T07:42:50.445" v="18" actId="47"/>
          <pc:sldLayoutMkLst>
            <pc:docMk/>
            <pc:sldMasterMk cId="1896801691" sldId="2147483797"/>
            <pc:sldLayoutMk cId="2906744754" sldId="2147483800"/>
          </pc:sldLayoutMkLst>
        </pc:sldLayoutChg>
        <pc:sldLayoutChg chg="del">
          <pc:chgData name="Virginie PONCET" userId="ebcd993a-a2ce-4546-82a8-b8fa2d7b77e1" providerId="ADAL" clId="{256EFD73-6466-46D9-A78C-97031829346C}" dt="2023-10-20T07:42:50.445" v="18" actId="47"/>
          <pc:sldLayoutMkLst>
            <pc:docMk/>
            <pc:sldMasterMk cId="1896801691" sldId="2147483797"/>
            <pc:sldLayoutMk cId="3412940036" sldId="2147483801"/>
          </pc:sldLayoutMkLst>
        </pc:sldLayoutChg>
        <pc:sldLayoutChg chg="del">
          <pc:chgData name="Virginie PONCET" userId="ebcd993a-a2ce-4546-82a8-b8fa2d7b77e1" providerId="ADAL" clId="{256EFD73-6466-46D9-A78C-97031829346C}" dt="2023-10-20T07:42:50.445" v="18" actId="47"/>
          <pc:sldLayoutMkLst>
            <pc:docMk/>
            <pc:sldMasterMk cId="1896801691" sldId="2147483797"/>
            <pc:sldLayoutMk cId="2631056946" sldId="2147483802"/>
          </pc:sldLayoutMkLst>
        </pc:sldLayoutChg>
        <pc:sldLayoutChg chg="del">
          <pc:chgData name="Virginie PONCET" userId="ebcd993a-a2ce-4546-82a8-b8fa2d7b77e1" providerId="ADAL" clId="{256EFD73-6466-46D9-A78C-97031829346C}" dt="2023-10-20T07:42:50.445" v="18" actId="47"/>
          <pc:sldLayoutMkLst>
            <pc:docMk/>
            <pc:sldMasterMk cId="1896801691" sldId="2147483797"/>
            <pc:sldLayoutMk cId="2431905012" sldId="2147483803"/>
          </pc:sldLayoutMkLst>
        </pc:sldLayoutChg>
        <pc:sldLayoutChg chg="del">
          <pc:chgData name="Virginie PONCET" userId="ebcd993a-a2ce-4546-82a8-b8fa2d7b77e1" providerId="ADAL" clId="{256EFD73-6466-46D9-A78C-97031829346C}" dt="2023-10-20T07:42:50.445" v="18" actId="47"/>
          <pc:sldLayoutMkLst>
            <pc:docMk/>
            <pc:sldMasterMk cId="1896801691" sldId="2147483797"/>
            <pc:sldLayoutMk cId="1491646401" sldId="2147483804"/>
          </pc:sldLayoutMkLst>
        </pc:sldLayoutChg>
        <pc:sldLayoutChg chg="del">
          <pc:chgData name="Virginie PONCET" userId="ebcd993a-a2ce-4546-82a8-b8fa2d7b77e1" providerId="ADAL" clId="{256EFD73-6466-46D9-A78C-97031829346C}" dt="2023-10-20T07:42:50.445" v="18" actId="47"/>
          <pc:sldLayoutMkLst>
            <pc:docMk/>
            <pc:sldMasterMk cId="1896801691" sldId="2147483797"/>
            <pc:sldLayoutMk cId="1107788588" sldId="2147483805"/>
          </pc:sldLayoutMkLst>
        </pc:sldLayoutChg>
        <pc:sldLayoutChg chg="del">
          <pc:chgData name="Virginie PONCET" userId="ebcd993a-a2ce-4546-82a8-b8fa2d7b77e1" providerId="ADAL" clId="{256EFD73-6466-46D9-A78C-97031829346C}" dt="2023-10-20T07:42:50.445" v="18" actId="47"/>
          <pc:sldLayoutMkLst>
            <pc:docMk/>
            <pc:sldMasterMk cId="1896801691" sldId="2147483797"/>
            <pc:sldLayoutMk cId="2080838997" sldId="2147483806"/>
          </pc:sldLayoutMkLst>
        </pc:sldLayoutChg>
        <pc:sldLayoutChg chg="del">
          <pc:chgData name="Virginie PONCET" userId="ebcd993a-a2ce-4546-82a8-b8fa2d7b77e1" providerId="ADAL" clId="{256EFD73-6466-46D9-A78C-97031829346C}" dt="2023-10-20T07:42:50.445" v="18" actId="47"/>
          <pc:sldLayoutMkLst>
            <pc:docMk/>
            <pc:sldMasterMk cId="1896801691" sldId="2147483797"/>
            <pc:sldLayoutMk cId="2806696013" sldId="2147483807"/>
          </pc:sldLayoutMkLst>
        </pc:sldLayoutChg>
        <pc:sldLayoutChg chg="del">
          <pc:chgData name="Virginie PONCET" userId="ebcd993a-a2ce-4546-82a8-b8fa2d7b77e1" providerId="ADAL" clId="{256EFD73-6466-46D9-A78C-97031829346C}" dt="2023-10-20T07:42:50.445" v="18" actId="47"/>
          <pc:sldLayoutMkLst>
            <pc:docMk/>
            <pc:sldMasterMk cId="1896801691" sldId="2147483797"/>
            <pc:sldLayoutMk cId="2880318377" sldId="2147483808"/>
          </pc:sldLayoutMkLst>
        </pc:sldLayoutChg>
        <pc:sldLayoutChg chg="del">
          <pc:chgData name="Virginie PONCET" userId="ebcd993a-a2ce-4546-82a8-b8fa2d7b77e1" providerId="ADAL" clId="{256EFD73-6466-46D9-A78C-97031829346C}" dt="2023-10-20T07:42:50.445" v="18" actId="47"/>
          <pc:sldLayoutMkLst>
            <pc:docMk/>
            <pc:sldMasterMk cId="1896801691" sldId="2147483797"/>
            <pc:sldLayoutMk cId="2108761528" sldId="2147483809"/>
          </pc:sldLayoutMkLst>
        </pc:sldLayoutChg>
        <pc:sldLayoutChg chg="del">
          <pc:chgData name="Virginie PONCET" userId="ebcd993a-a2ce-4546-82a8-b8fa2d7b77e1" providerId="ADAL" clId="{256EFD73-6466-46D9-A78C-97031829346C}" dt="2023-10-20T07:42:50.445" v="18" actId="47"/>
          <pc:sldLayoutMkLst>
            <pc:docMk/>
            <pc:sldMasterMk cId="1896801691" sldId="2147483797"/>
            <pc:sldLayoutMk cId="1040330127" sldId="2147483810"/>
          </pc:sldLayoutMkLst>
        </pc:sldLayoutChg>
        <pc:sldLayoutChg chg="del">
          <pc:chgData name="Virginie PONCET" userId="ebcd993a-a2ce-4546-82a8-b8fa2d7b77e1" providerId="ADAL" clId="{256EFD73-6466-46D9-A78C-97031829346C}" dt="2023-10-20T07:42:50.445" v="18" actId="47"/>
          <pc:sldLayoutMkLst>
            <pc:docMk/>
            <pc:sldMasterMk cId="1896801691" sldId="2147483797"/>
            <pc:sldLayoutMk cId="2230202163" sldId="2147483811"/>
          </pc:sldLayoutMkLst>
        </pc:sldLayoutChg>
        <pc:sldLayoutChg chg="del">
          <pc:chgData name="Virginie PONCET" userId="ebcd993a-a2ce-4546-82a8-b8fa2d7b77e1" providerId="ADAL" clId="{256EFD73-6466-46D9-A78C-97031829346C}" dt="2023-10-20T07:42:50.445" v="18" actId="47"/>
          <pc:sldLayoutMkLst>
            <pc:docMk/>
            <pc:sldMasterMk cId="1896801691" sldId="2147483797"/>
            <pc:sldLayoutMk cId="2585331542" sldId="2147483812"/>
          </pc:sldLayoutMkLst>
        </pc:sldLayoutChg>
        <pc:sldLayoutChg chg="del">
          <pc:chgData name="Virginie PONCET" userId="ebcd993a-a2ce-4546-82a8-b8fa2d7b77e1" providerId="ADAL" clId="{256EFD73-6466-46D9-A78C-97031829346C}" dt="2023-10-20T07:42:50.445" v="18" actId="47"/>
          <pc:sldLayoutMkLst>
            <pc:docMk/>
            <pc:sldMasterMk cId="1896801691" sldId="2147483797"/>
            <pc:sldLayoutMk cId="2801940045" sldId="2147483813"/>
          </pc:sldLayoutMkLst>
        </pc:sldLayoutChg>
        <pc:sldLayoutChg chg="del">
          <pc:chgData name="Virginie PONCET" userId="ebcd993a-a2ce-4546-82a8-b8fa2d7b77e1" providerId="ADAL" clId="{256EFD73-6466-46D9-A78C-97031829346C}" dt="2023-10-20T07:42:50.445" v="18" actId="47"/>
          <pc:sldLayoutMkLst>
            <pc:docMk/>
            <pc:sldMasterMk cId="1896801691" sldId="2147483797"/>
            <pc:sldLayoutMk cId="2799845103" sldId="2147483814"/>
          </pc:sldLayoutMkLst>
        </pc:sldLayoutChg>
        <pc:sldLayoutChg chg="del">
          <pc:chgData name="Virginie PONCET" userId="ebcd993a-a2ce-4546-82a8-b8fa2d7b77e1" providerId="ADAL" clId="{256EFD73-6466-46D9-A78C-97031829346C}" dt="2023-10-20T07:42:50.445" v="18" actId="47"/>
          <pc:sldLayoutMkLst>
            <pc:docMk/>
            <pc:sldMasterMk cId="1896801691" sldId="2147483797"/>
            <pc:sldLayoutMk cId="1060061062" sldId="2147483815"/>
          </pc:sldLayoutMkLst>
        </pc:sldLayoutChg>
        <pc:sldLayoutChg chg="del">
          <pc:chgData name="Virginie PONCET" userId="ebcd993a-a2ce-4546-82a8-b8fa2d7b77e1" providerId="ADAL" clId="{256EFD73-6466-46D9-A78C-97031829346C}" dt="2023-10-20T07:42:50.445" v="18" actId="47"/>
          <pc:sldLayoutMkLst>
            <pc:docMk/>
            <pc:sldMasterMk cId="1896801691" sldId="2147483797"/>
            <pc:sldLayoutMk cId="3523568011" sldId="2147483816"/>
          </pc:sldLayoutMkLst>
        </pc:sldLayoutChg>
        <pc:sldLayoutChg chg="del">
          <pc:chgData name="Virginie PONCET" userId="ebcd993a-a2ce-4546-82a8-b8fa2d7b77e1" providerId="ADAL" clId="{256EFD73-6466-46D9-A78C-97031829346C}" dt="2023-10-20T07:42:50.445" v="18" actId="47"/>
          <pc:sldLayoutMkLst>
            <pc:docMk/>
            <pc:sldMasterMk cId="1896801691" sldId="2147483797"/>
            <pc:sldLayoutMk cId="2574533164" sldId="2147483817"/>
          </pc:sldLayoutMkLst>
        </pc:sldLayoutChg>
        <pc:sldLayoutChg chg="del">
          <pc:chgData name="Virginie PONCET" userId="ebcd993a-a2ce-4546-82a8-b8fa2d7b77e1" providerId="ADAL" clId="{256EFD73-6466-46D9-A78C-97031829346C}" dt="2023-10-20T07:42:50.445" v="18" actId="47"/>
          <pc:sldLayoutMkLst>
            <pc:docMk/>
            <pc:sldMasterMk cId="1896801691" sldId="2147483797"/>
            <pc:sldLayoutMk cId="2093433679" sldId="2147483818"/>
          </pc:sldLayoutMkLst>
        </pc:sldLayoutChg>
        <pc:sldLayoutChg chg="del">
          <pc:chgData name="Virginie PONCET" userId="ebcd993a-a2ce-4546-82a8-b8fa2d7b77e1" providerId="ADAL" clId="{256EFD73-6466-46D9-A78C-97031829346C}" dt="2023-10-20T07:42:50.445" v="18" actId="47"/>
          <pc:sldLayoutMkLst>
            <pc:docMk/>
            <pc:sldMasterMk cId="1896801691" sldId="2147483797"/>
            <pc:sldLayoutMk cId="1137228590" sldId="2147483819"/>
          </pc:sldLayoutMkLst>
        </pc:sldLayoutChg>
        <pc:sldLayoutChg chg="del">
          <pc:chgData name="Virginie PONCET" userId="ebcd993a-a2ce-4546-82a8-b8fa2d7b77e1" providerId="ADAL" clId="{256EFD73-6466-46D9-A78C-97031829346C}" dt="2023-10-20T07:42:50.445" v="18" actId="47"/>
          <pc:sldLayoutMkLst>
            <pc:docMk/>
            <pc:sldMasterMk cId="1896801691" sldId="2147483797"/>
            <pc:sldLayoutMk cId="1322484802" sldId="2147483820"/>
          </pc:sldLayoutMkLst>
        </pc:sldLayoutChg>
        <pc:sldLayoutChg chg="del">
          <pc:chgData name="Virginie PONCET" userId="ebcd993a-a2ce-4546-82a8-b8fa2d7b77e1" providerId="ADAL" clId="{256EFD73-6466-46D9-A78C-97031829346C}" dt="2023-10-20T07:42:50.445" v="18" actId="47"/>
          <pc:sldLayoutMkLst>
            <pc:docMk/>
            <pc:sldMasterMk cId="1896801691" sldId="2147483797"/>
            <pc:sldLayoutMk cId="4086732122" sldId="2147483821"/>
          </pc:sldLayoutMkLst>
        </pc:sldLayoutChg>
        <pc:sldLayoutChg chg="del">
          <pc:chgData name="Virginie PONCET" userId="ebcd993a-a2ce-4546-82a8-b8fa2d7b77e1" providerId="ADAL" clId="{256EFD73-6466-46D9-A78C-97031829346C}" dt="2023-10-20T07:42:50.445" v="18" actId="47"/>
          <pc:sldLayoutMkLst>
            <pc:docMk/>
            <pc:sldMasterMk cId="1896801691" sldId="2147483797"/>
            <pc:sldLayoutMk cId="2027810822" sldId="2147483822"/>
          </pc:sldLayoutMkLst>
        </pc:sldLayoutChg>
        <pc:sldLayoutChg chg="del">
          <pc:chgData name="Virginie PONCET" userId="ebcd993a-a2ce-4546-82a8-b8fa2d7b77e1" providerId="ADAL" clId="{256EFD73-6466-46D9-A78C-97031829346C}" dt="2023-10-20T07:42:50.445" v="18" actId="47"/>
          <pc:sldLayoutMkLst>
            <pc:docMk/>
            <pc:sldMasterMk cId="1896801691" sldId="2147483797"/>
            <pc:sldLayoutMk cId="1513510047" sldId="2147483823"/>
          </pc:sldLayoutMkLst>
        </pc:sldLayoutChg>
        <pc:sldLayoutChg chg="del">
          <pc:chgData name="Virginie PONCET" userId="ebcd993a-a2ce-4546-82a8-b8fa2d7b77e1" providerId="ADAL" clId="{256EFD73-6466-46D9-A78C-97031829346C}" dt="2023-10-20T07:42:50.445" v="18" actId="47"/>
          <pc:sldLayoutMkLst>
            <pc:docMk/>
            <pc:sldMasterMk cId="1896801691" sldId="2147483797"/>
            <pc:sldLayoutMk cId="2051457727" sldId="2147483824"/>
          </pc:sldLayoutMkLst>
        </pc:sldLayoutChg>
        <pc:sldLayoutChg chg="del">
          <pc:chgData name="Virginie PONCET" userId="ebcd993a-a2ce-4546-82a8-b8fa2d7b77e1" providerId="ADAL" clId="{256EFD73-6466-46D9-A78C-97031829346C}" dt="2023-10-20T07:42:50.445" v="18" actId="47"/>
          <pc:sldLayoutMkLst>
            <pc:docMk/>
            <pc:sldMasterMk cId="1896801691" sldId="2147483797"/>
            <pc:sldLayoutMk cId="2615248959" sldId="2147483825"/>
          </pc:sldLayoutMkLst>
        </pc:sldLayoutChg>
      </pc:sldMasterChg>
      <pc:sldMasterChg chg="del delSldLayout">
        <pc:chgData name="Virginie PONCET" userId="ebcd993a-a2ce-4546-82a8-b8fa2d7b77e1" providerId="ADAL" clId="{256EFD73-6466-46D9-A78C-97031829346C}" dt="2023-10-20T07:42:54.014" v="19" actId="47"/>
        <pc:sldMasterMkLst>
          <pc:docMk/>
          <pc:sldMasterMk cId="485750385" sldId="2147483826"/>
        </pc:sldMasterMkLst>
        <pc:sldLayoutChg chg="del">
          <pc:chgData name="Virginie PONCET" userId="ebcd993a-a2ce-4546-82a8-b8fa2d7b77e1" providerId="ADAL" clId="{256EFD73-6466-46D9-A78C-97031829346C}" dt="2023-10-20T07:42:54.014" v="19" actId="47"/>
          <pc:sldLayoutMkLst>
            <pc:docMk/>
            <pc:sldMasterMk cId="485750385" sldId="2147483826"/>
            <pc:sldLayoutMk cId="1761574322" sldId="2147483827"/>
          </pc:sldLayoutMkLst>
        </pc:sldLayoutChg>
        <pc:sldLayoutChg chg="del">
          <pc:chgData name="Virginie PONCET" userId="ebcd993a-a2ce-4546-82a8-b8fa2d7b77e1" providerId="ADAL" clId="{256EFD73-6466-46D9-A78C-97031829346C}" dt="2023-10-20T07:42:54.014" v="19" actId="47"/>
          <pc:sldLayoutMkLst>
            <pc:docMk/>
            <pc:sldMasterMk cId="485750385" sldId="2147483826"/>
            <pc:sldLayoutMk cId="715169830" sldId="2147483828"/>
          </pc:sldLayoutMkLst>
        </pc:sldLayoutChg>
        <pc:sldLayoutChg chg="del">
          <pc:chgData name="Virginie PONCET" userId="ebcd993a-a2ce-4546-82a8-b8fa2d7b77e1" providerId="ADAL" clId="{256EFD73-6466-46D9-A78C-97031829346C}" dt="2023-10-20T07:42:54.014" v="19" actId="47"/>
          <pc:sldLayoutMkLst>
            <pc:docMk/>
            <pc:sldMasterMk cId="485750385" sldId="2147483826"/>
            <pc:sldLayoutMk cId="909951959" sldId="2147483829"/>
          </pc:sldLayoutMkLst>
        </pc:sldLayoutChg>
        <pc:sldLayoutChg chg="del">
          <pc:chgData name="Virginie PONCET" userId="ebcd993a-a2ce-4546-82a8-b8fa2d7b77e1" providerId="ADAL" clId="{256EFD73-6466-46D9-A78C-97031829346C}" dt="2023-10-20T07:42:54.014" v="19" actId="47"/>
          <pc:sldLayoutMkLst>
            <pc:docMk/>
            <pc:sldMasterMk cId="485750385" sldId="2147483826"/>
            <pc:sldLayoutMk cId="3557528796" sldId="2147483830"/>
          </pc:sldLayoutMkLst>
        </pc:sldLayoutChg>
        <pc:sldLayoutChg chg="del">
          <pc:chgData name="Virginie PONCET" userId="ebcd993a-a2ce-4546-82a8-b8fa2d7b77e1" providerId="ADAL" clId="{256EFD73-6466-46D9-A78C-97031829346C}" dt="2023-10-20T07:42:54.014" v="19" actId="47"/>
          <pc:sldLayoutMkLst>
            <pc:docMk/>
            <pc:sldMasterMk cId="485750385" sldId="2147483826"/>
            <pc:sldLayoutMk cId="2302451906" sldId="2147483831"/>
          </pc:sldLayoutMkLst>
        </pc:sldLayoutChg>
        <pc:sldLayoutChg chg="del">
          <pc:chgData name="Virginie PONCET" userId="ebcd993a-a2ce-4546-82a8-b8fa2d7b77e1" providerId="ADAL" clId="{256EFD73-6466-46D9-A78C-97031829346C}" dt="2023-10-20T07:42:54.014" v="19" actId="47"/>
          <pc:sldLayoutMkLst>
            <pc:docMk/>
            <pc:sldMasterMk cId="485750385" sldId="2147483826"/>
            <pc:sldLayoutMk cId="3847442140" sldId="2147483832"/>
          </pc:sldLayoutMkLst>
        </pc:sldLayoutChg>
        <pc:sldLayoutChg chg="del">
          <pc:chgData name="Virginie PONCET" userId="ebcd993a-a2ce-4546-82a8-b8fa2d7b77e1" providerId="ADAL" clId="{256EFD73-6466-46D9-A78C-97031829346C}" dt="2023-10-20T07:42:54.014" v="19" actId="47"/>
          <pc:sldLayoutMkLst>
            <pc:docMk/>
            <pc:sldMasterMk cId="485750385" sldId="2147483826"/>
            <pc:sldLayoutMk cId="284964" sldId="2147483833"/>
          </pc:sldLayoutMkLst>
        </pc:sldLayoutChg>
        <pc:sldLayoutChg chg="del">
          <pc:chgData name="Virginie PONCET" userId="ebcd993a-a2ce-4546-82a8-b8fa2d7b77e1" providerId="ADAL" clId="{256EFD73-6466-46D9-A78C-97031829346C}" dt="2023-10-20T07:42:54.014" v="19" actId="47"/>
          <pc:sldLayoutMkLst>
            <pc:docMk/>
            <pc:sldMasterMk cId="485750385" sldId="2147483826"/>
            <pc:sldLayoutMk cId="1756712625" sldId="2147483834"/>
          </pc:sldLayoutMkLst>
        </pc:sldLayoutChg>
        <pc:sldLayoutChg chg="del">
          <pc:chgData name="Virginie PONCET" userId="ebcd993a-a2ce-4546-82a8-b8fa2d7b77e1" providerId="ADAL" clId="{256EFD73-6466-46D9-A78C-97031829346C}" dt="2023-10-20T07:42:54.014" v="19" actId="47"/>
          <pc:sldLayoutMkLst>
            <pc:docMk/>
            <pc:sldMasterMk cId="485750385" sldId="2147483826"/>
            <pc:sldLayoutMk cId="4148151924" sldId="2147483835"/>
          </pc:sldLayoutMkLst>
        </pc:sldLayoutChg>
        <pc:sldLayoutChg chg="del">
          <pc:chgData name="Virginie PONCET" userId="ebcd993a-a2ce-4546-82a8-b8fa2d7b77e1" providerId="ADAL" clId="{256EFD73-6466-46D9-A78C-97031829346C}" dt="2023-10-20T07:42:54.014" v="19" actId="47"/>
          <pc:sldLayoutMkLst>
            <pc:docMk/>
            <pc:sldMasterMk cId="485750385" sldId="2147483826"/>
            <pc:sldLayoutMk cId="368261755" sldId="2147483836"/>
          </pc:sldLayoutMkLst>
        </pc:sldLayoutChg>
        <pc:sldLayoutChg chg="del">
          <pc:chgData name="Virginie PONCET" userId="ebcd993a-a2ce-4546-82a8-b8fa2d7b77e1" providerId="ADAL" clId="{256EFD73-6466-46D9-A78C-97031829346C}" dt="2023-10-20T07:42:54.014" v="19" actId="47"/>
          <pc:sldLayoutMkLst>
            <pc:docMk/>
            <pc:sldMasterMk cId="485750385" sldId="2147483826"/>
            <pc:sldLayoutMk cId="4255007320" sldId="2147483837"/>
          </pc:sldLayoutMkLst>
        </pc:sldLayoutChg>
        <pc:sldLayoutChg chg="del">
          <pc:chgData name="Virginie PONCET" userId="ebcd993a-a2ce-4546-82a8-b8fa2d7b77e1" providerId="ADAL" clId="{256EFD73-6466-46D9-A78C-97031829346C}" dt="2023-10-20T07:42:54.014" v="19" actId="47"/>
          <pc:sldLayoutMkLst>
            <pc:docMk/>
            <pc:sldMasterMk cId="485750385" sldId="2147483826"/>
            <pc:sldLayoutMk cId="3164719773" sldId="2147483838"/>
          </pc:sldLayoutMkLst>
        </pc:sldLayoutChg>
        <pc:sldLayoutChg chg="del">
          <pc:chgData name="Virginie PONCET" userId="ebcd993a-a2ce-4546-82a8-b8fa2d7b77e1" providerId="ADAL" clId="{256EFD73-6466-46D9-A78C-97031829346C}" dt="2023-10-20T07:42:54.014" v="19" actId="47"/>
          <pc:sldLayoutMkLst>
            <pc:docMk/>
            <pc:sldMasterMk cId="485750385" sldId="2147483826"/>
            <pc:sldLayoutMk cId="875787536" sldId="2147483839"/>
          </pc:sldLayoutMkLst>
        </pc:sldLayoutChg>
        <pc:sldLayoutChg chg="del">
          <pc:chgData name="Virginie PONCET" userId="ebcd993a-a2ce-4546-82a8-b8fa2d7b77e1" providerId="ADAL" clId="{256EFD73-6466-46D9-A78C-97031829346C}" dt="2023-10-20T07:42:54.014" v="19" actId="47"/>
          <pc:sldLayoutMkLst>
            <pc:docMk/>
            <pc:sldMasterMk cId="485750385" sldId="2147483826"/>
            <pc:sldLayoutMk cId="1495591130" sldId="2147483840"/>
          </pc:sldLayoutMkLst>
        </pc:sldLayoutChg>
        <pc:sldLayoutChg chg="del">
          <pc:chgData name="Virginie PONCET" userId="ebcd993a-a2ce-4546-82a8-b8fa2d7b77e1" providerId="ADAL" clId="{256EFD73-6466-46D9-A78C-97031829346C}" dt="2023-10-20T07:42:54.014" v="19" actId="47"/>
          <pc:sldLayoutMkLst>
            <pc:docMk/>
            <pc:sldMasterMk cId="485750385" sldId="2147483826"/>
            <pc:sldLayoutMk cId="1928774173" sldId="2147483841"/>
          </pc:sldLayoutMkLst>
        </pc:sldLayoutChg>
        <pc:sldLayoutChg chg="del">
          <pc:chgData name="Virginie PONCET" userId="ebcd993a-a2ce-4546-82a8-b8fa2d7b77e1" providerId="ADAL" clId="{256EFD73-6466-46D9-A78C-97031829346C}" dt="2023-10-20T07:42:54.014" v="19" actId="47"/>
          <pc:sldLayoutMkLst>
            <pc:docMk/>
            <pc:sldMasterMk cId="485750385" sldId="2147483826"/>
            <pc:sldLayoutMk cId="221124388" sldId="2147483842"/>
          </pc:sldLayoutMkLst>
        </pc:sldLayoutChg>
        <pc:sldLayoutChg chg="del">
          <pc:chgData name="Virginie PONCET" userId="ebcd993a-a2ce-4546-82a8-b8fa2d7b77e1" providerId="ADAL" clId="{256EFD73-6466-46D9-A78C-97031829346C}" dt="2023-10-20T07:42:54.014" v="19" actId="47"/>
          <pc:sldLayoutMkLst>
            <pc:docMk/>
            <pc:sldMasterMk cId="485750385" sldId="2147483826"/>
            <pc:sldLayoutMk cId="1525670119" sldId="2147483843"/>
          </pc:sldLayoutMkLst>
        </pc:sldLayoutChg>
        <pc:sldLayoutChg chg="del">
          <pc:chgData name="Virginie PONCET" userId="ebcd993a-a2ce-4546-82a8-b8fa2d7b77e1" providerId="ADAL" clId="{256EFD73-6466-46D9-A78C-97031829346C}" dt="2023-10-20T07:42:54.014" v="19" actId="47"/>
          <pc:sldLayoutMkLst>
            <pc:docMk/>
            <pc:sldMasterMk cId="485750385" sldId="2147483826"/>
            <pc:sldLayoutMk cId="2934385863" sldId="2147483844"/>
          </pc:sldLayoutMkLst>
        </pc:sldLayoutChg>
        <pc:sldLayoutChg chg="del">
          <pc:chgData name="Virginie PONCET" userId="ebcd993a-a2ce-4546-82a8-b8fa2d7b77e1" providerId="ADAL" clId="{256EFD73-6466-46D9-A78C-97031829346C}" dt="2023-10-20T07:42:54.014" v="19" actId="47"/>
          <pc:sldLayoutMkLst>
            <pc:docMk/>
            <pc:sldMasterMk cId="485750385" sldId="2147483826"/>
            <pc:sldLayoutMk cId="1378458115" sldId="2147483845"/>
          </pc:sldLayoutMkLst>
        </pc:sldLayoutChg>
        <pc:sldLayoutChg chg="del">
          <pc:chgData name="Virginie PONCET" userId="ebcd993a-a2ce-4546-82a8-b8fa2d7b77e1" providerId="ADAL" clId="{256EFD73-6466-46D9-A78C-97031829346C}" dt="2023-10-20T07:42:54.014" v="19" actId="47"/>
          <pc:sldLayoutMkLst>
            <pc:docMk/>
            <pc:sldMasterMk cId="485750385" sldId="2147483826"/>
            <pc:sldLayoutMk cId="942878142" sldId="2147483846"/>
          </pc:sldLayoutMkLst>
        </pc:sldLayoutChg>
        <pc:sldLayoutChg chg="del">
          <pc:chgData name="Virginie PONCET" userId="ebcd993a-a2ce-4546-82a8-b8fa2d7b77e1" providerId="ADAL" clId="{256EFD73-6466-46D9-A78C-97031829346C}" dt="2023-10-20T07:42:54.014" v="19" actId="47"/>
          <pc:sldLayoutMkLst>
            <pc:docMk/>
            <pc:sldMasterMk cId="485750385" sldId="2147483826"/>
            <pc:sldLayoutMk cId="3200379060" sldId="2147483847"/>
          </pc:sldLayoutMkLst>
        </pc:sldLayoutChg>
        <pc:sldLayoutChg chg="del">
          <pc:chgData name="Virginie PONCET" userId="ebcd993a-a2ce-4546-82a8-b8fa2d7b77e1" providerId="ADAL" clId="{256EFD73-6466-46D9-A78C-97031829346C}" dt="2023-10-20T07:42:54.014" v="19" actId="47"/>
          <pc:sldLayoutMkLst>
            <pc:docMk/>
            <pc:sldMasterMk cId="485750385" sldId="2147483826"/>
            <pc:sldLayoutMk cId="1550639428" sldId="2147483848"/>
          </pc:sldLayoutMkLst>
        </pc:sldLayoutChg>
        <pc:sldLayoutChg chg="del">
          <pc:chgData name="Virginie PONCET" userId="ebcd993a-a2ce-4546-82a8-b8fa2d7b77e1" providerId="ADAL" clId="{256EFD73-6466-46D9-A78C-97031829346C}" dt="2023-10-20T07:42:54.014" v="19" actId="47"/>
          <pc:sldLayoutMkLst>
            <pc:docMk/>
            <pc:sldMasterMk cId="485750385" sldId="2147483826"/>
            <pc:sldLayoutMk cId="1082127757" sldId="2147483849"/>
          </pc:sldLayoutMkLst>
        </pc:sldLayoutChg>
        <pc:sldLayoutChg chg="del">
          <pc:chgData name="Virginie PONCET" userId="ebcd993a-a2ce-4546-82a8-b8fa2d7b77e1" providerId="ADAL" clId="{256EFD73-6466-46D9-A78C-97031829346C}" dt="2023-10-20T07:42:54.014" v="19" actId="47"/>
          <pc:sldLayoutMkLst>
            <pc:docMk/>
            <pc:sldMasterMk cId="485750385" sldId="2147483826"/>
            <pc:sldLayoutMk cId="1614437128" sldId="2147483850"/>
          </pc:sldLayoutMkLst>
        </pc:sldLayoutChg>
        <pc:sldLayoutChg chg="del">
          <pc:chgData name="Virginie PONCET" userId="ebcd993a-a2ce-4546-82a8-b8fa2d7b77e1" providerId="ADAL" clId="{256EFD73-6466-46D9-A78C-97031829346C}" dt="2023-10-20T07:42:54.014" v="19" actId="47"/>
          <pc:sldLayoutMkLst>
            <pc:docMk/>
            <pc:sldMasterMk cId="485750385" sldId="2147483826"/>
            <pc:sldLayoutMk cId="1223919731" sldId="2147483851"/>
          </pc:sldLayoutMkLst>
        </pc:sldLayoutChg>
        <pc:sldLayoutChg chg="del">
          <pc:chgData name="Virginie PONCET" userId="ebcd993a-a2ce-4546-82a8-b8fa2d7b77e1" providerId="ADAL" clId="{256EFD73-6466-46D9-A78C-97031829346C}" dt="2023-10-20T07:42:54.014" v="19" actId="47"/>
          <pc:sldLayoutMkLst>
            <pc:docMk/>
            <pc:sldMasterMk cId="485750385" sldId="2147483826"/>
            <pc:sldLayoutMk cId="1106637274" sldId="2147483852"/>
          </pc:sldLayoutMkLst>
        </pc:sldLayoutChg>
        <pc:sldLayoutChg chg="del">
          <pc:chgData name="Virginie PONCET" userId="ebcd993a-a2ce-4546-82a8-b8fa2d7b77e1" providerId="ADAL" clId="{256EFD73-6466-46D9-A78C-97031829346C}" dt="2023-10-20T07:42:54.014" v="19" actId="47"/>
          <pc:sldLayoutMkLst>
            <pc:docMk/>
            <pc:sldMasterMk cId="485750385" sldId="2147483826"/>
            <pc:sldLayoutMk cId="2094857040" sldId="2147483853"/>
          </pc:sldLayoutMkLst>
        </pc:sldLayoutChg>
      </pc:sldMasterChg>
    </pc:docChg>
  </pc:docChgLst>
  <pc:docChgLst>
    <pc:chgData name="Isabelle LEBO" userId="S::ma4349@bpifrance.fr::f1c985e3-394e-48e8-9a67-d1528b48b78a" providerId="AD" clId="Web-{3CE624B9-F75B-4233-AA45-855126375028}"/>
    <pc:docChg chg="modSld">
      <pc:chgData name="Isabelle LEBO" userId="S::ma4349@bpifrance.fr::f1c985e3-394e-48e8-9a67-d1528b48b78a" providerId="AD" clId="Web-{3CE624B9-F75B-4233-AA45-855126375028}" dt="2023-03-07T16:39:40.515" v="1" actId="1076"/>
      <pc:docMkLst>
        <pc:docMk/>
      </pc:docMkLst>
      <pc:sldChg chg="modSp">
        <pc:chgData name="Isabelle LEBO" userId="S::ma4349@bpifrance.fr::f1c985e3-394e-48e8-9a67-d1528b48b78a" providerId="AD" clId="Web-{3CE624B9-F75B-4233-AA45-855126375028}" dt="2023-03-07T16:39:40.515" v="1" actId="1076"/>
        <pc:sldMkLst>
          <pc:docMk/>
          <pc:sldMk cId="4137056731" sldId="338"/>
        </pc:sldMkLst>
        <pc:spChg chg="mod">
          <ac:chgData name="Isabelle LEBO" userId="S::ma4349@bpifrance.fr::f1c985e3-394e-48e8-9a67-d1528b48b78a" providerId="AD" clId="Web-{3CE624B9-F75B-4233-AA45-855126375028}" dt="2023-03-07T16:39:40.515" v="1" actId="1076"/>
          <ac:spMkLst>
            <pc:docMk/>
            <pc:sldMk cId="4137056731" sldId="338"/>
            <ac:spMk id="3" creationId="{00000000-0000-0000-0000-000000000000}"/>
          </ac:spMkLst>
        </pc:spChg>
      </pc:sldChg>
      <pc:sldChg chg="modSp">
        <pc:chgData name="Isabelle LEBO" userId="S::ma4349@bpifrance.fr::f1c985e3-394e-48e8-9a67-d1528b48b78a" providerId="AD" clId="Web-{3CE624B9-F75B-4233-AA45-855126375028}" dt="2023-03-07T16:39:29.155" v="0"/>
        <pc:sldMkLst>
          <pc:docMk/>
          <pc:sldMk cId="2474840419" sldId="1587"/>
        </pc:sldMkLst>
        <pc:spChg chg="mod">
          <ac:chgData name="Isabelle LEBO" userId="S::ma4349@bpifrance.fr::f1c985e3-394e-48e8-9a67-d1528b48b78a" providerId="AD" clId="Web-{3CE624B9-F75B-4233-AA45-855126375028}" dt="2023-03-07T16:39:29.155" v="0"/>
          <ac:spMkLst>
            <pc:docMk/>
            <pc:sldMk cId="2474840419" sldId="1587"/>
            <ac:spMk id="18" creationId="{98F6EBA2-3185-4569-AD47-9A2873048374}"/>
          </ac:spMkLst>
        </pc:spChg>
      </pc:sldChg>
    </pc:docChg>
  </pc:docChgLst>
  <pc:docChgLst>
    <pc:chgData name="Isabelle LEBO" userId="S::ma4349@bpifrance.fr::f1c985e3-394e-48e8-9a67-d1528b48b78a" providerId="AD" clId="Web-{4F6EF167-4360-4E2E-AB1D-CBDBC0E77C44}"/>
    <pc:docChg chg="addSld addMainMaster">
      <pc:chgData name="Isabelle LEBO" userId="S::ma4349@bpifrance.fr::f1c985e3-394e-48e8-9a67-d1528b48b78a" providerId="AD" clId="Web-{4F6EF167-4360-4E2E-AB1D-CBDBC0E77C44}" dt="2023-03-12T12:30:35.567" v="2"/>
      <pc:docMkLst>
        <pc:docMk/>
      </pc:docMkLst>
      <pc:sldChg chg="add">
        <pc:chgData name="Isabelle LEBO" userId="S::ma4349@bpifrance.fr::f1c985e3-394e-48e8-9a67-d1528b48b78a" providerId="AD" clId="Web-{4F6EF167-4360-4E2E-AB1D-CBDBC0E77C44}" dt="2023-03-12T12:30:35.192" v="0"/>
        <pc:sldMkLst>
          <pc:docMk/>
          <pc:sldMk cId="1429175669" sldId="3953"/>
        </pc:sldMkLst>
      </pc:sldChg>
      <pc:sldChg chg="add">
        <pc:chgData name="Isabelle LEBO" userId="S::ma4349@bpifrance.fr::f1c985e3-394e-48e8-9a67-d1528b48b78a" providerId="AD" clId="Web-{4F6EF167-4360-4E2E-AB1D-CBDBC0E77C44}" dt="2023-03-12T12:30:35.348" v="1"/>
        <pc:sldMkLst>
          <pc:docMk/>
          <pc:sldMk cId="2303071161" sldId="3954"/>
        </pc:sldMkLst>
      </pc:sldChg>
      <pc:sldChg chg="add">
        <pc:chgData name="Isabelle LEBO" userId="S::ma4349@bpifrance.fr::f1c985e3-394e-48e8-9a67-d1528b48b78a" providerId="AD" clId="Web-{4F6EF167-4360-4E2E-AB1D-CBDBC0E77C44}" dt="2023-03-12T12:30:35.567" v="2"/>
        <pc:sldMkLst>
          <pc:docMk/>
          <pc:sldMk cId="420111103" sldId="3955"/>
        </pc:sldMkLst>
      </pc:sldChg>
      <pc:sldMasterChg chg="add addSldLayout">
        <pc:chgData name="Isabelle LEBO" userId="S::ma4349@bpifrance.fr::f1c985e3-394e-48e8-9a67-d1528b48b78a" providerId="AD" clId="Web-{4F6EF167-4360-4E2E-AB1D-CBDBC0E77C44}" dt="2023-03-12T12:30:35.192" v="0"/>
        <pc:sldMasterMkLst>
          <pc:docMk/>
          <pc:sldMasterMk cId="0" sldId="2147483776"/>
        </pc:sldMasterMkLst>
        <pc:sldLayoutChg chg="add">
          <pc:chgData name="Isabelle LEBO" userId="S::ma4349@bpifrance.fr::f1c985e3-394e-48e8-9a67-d1528b48b78a" providerId="AD" clId="Web-{4F6EF167-4360-4E2E-AB1D-CBDBC0E77C44}" dt="2023-03-12T12:30:35.192" v="0"/>
          <pc:sldLayoutMkLst>
            <pc:docMk/>
            <pc:sldMasterMk cId="0" sldId="2147483776"/>
            <pc:sldLayoutMk cId="0" sldId="2147483740"/>
          </pc:sldLayoutMkLst>
        </pc:sldLayoutChg>
        <pc:sldLayoutChg chg="add">
          <pc:chgData name="Isabelle LEBO" userId="S::ma4349@bpifrance.fr::f1c985e3-394e-48e8-9a67-d1528b48b78a" providerId="AD" clId="Web-{4F6EF167-4360-4E2E-AB1D-CBDBC0E77C44}" dt="2023-03-12T12:30:35.192" v="0"/>
          <pc:sldLayoutMkLst>
            <pc:docMk/>
            <pc:sldMasterMk cId="0" sldId="2147483776"/>
            <pc:sldLayoutMk cId="0" sldId="2147483741"/>
          </pc:sldLayoutMkLst>
        </pc:sldLayoutChg>
        <pc:sldLayoutChg chg="add">
          <pc:chgData name="Isabelle LEBO" userId="S::ma4349@bpifrance.fr::f1c985e3-394e-48e8-9a67-d1528b48b78a" providerId="AD" clId="Web-{4F6EF167-4360-4E2E-AB1D-CBDBC0E77C44}" dt="2023-03-12T12:30:35.192" v="0"/>
          <pc:sldLayoutMkLst>
            <pc:docMk/>
            <pc:sldMasterMk cId="0" sldId="2147483776"/>
            <pc:sldLayoutMk cId="0" sldId="2147483742"/>
          </pc:sldLayoutMkLst>
        </pc:sldLayoutChg>
        <pc:sldLayoutChg chg="add">
          <pc:chgData name="Isabelle LEBO" userId="S::ma4349@bpifrance.fr::f1c985e3-394e-48e8-9a67-d1528b48b78a" providerId="AD" clId="Web-{4F6EF167-4360-4E2E-AB1D-CBDBC0E77C44}" dt="2023-03-12T12:30:35.192" v="0"/>
          <pc:sldLayoutMkLst>
            <pc:docMk/>
            <pc:sldMasterMk cId="0" sldId="2147483776"/>
            <pc:sldLayoutMk cId="0" sldId="2147483743"/>
          </pc:sldLayoutMkLst>
        </pc:sldLayoutChg>
        <pc:sldLayoutChg chg="add">
          <pc:chgData name="Isabelle LEBO" userId="S::ma4349@bpifrance.fr::f1c985e3-394e-48e8-9a67-d1528b48b78a" providerId="AD" clId="Web-{4F6EF167-4360-4E2E-AB1D-CBDBC0E77C44}" dt="2023-03-12T12:30:35.192" v="0"/>
          <pc:sldLayoutMkLst>
            <pc:docMk/>
            <pc:sldMasterMk cId="0" sldId="2147483776"/>
            <pc:sldLayoutMk cId="0" sldId="2147483744"/>
          </pc:sldLayoutMkLst>
        </pc:sldLayoutChg>
        <pc:sldLayoutChg chg="add">
          <pc:chgData name="Isabelle LEBO" userId="S::ma4349@bpifrance.fr::f1c985e3-394e-48e8-9a67-d1528b48b78a" providerId="AD" clId="Web-{4F6EF167-4360-4E2E-AB1D-CBDBC0E77C44}" dt="2023-03-12T12:30:35.192" v="0"/>
          <pc:sldLayoutMkLst>
            <pc:docMk/>
            <pc:sldMasterMk cId="0" sldId="2147483776"/>
            <pc:sldLayoutMk cId="0" sldId="2147483745"/>
          </pc:sldLayoutMkLst>
        </pc:sldLayoutChg>
        <pc:sldLayoutChg chg="add">
          <pc:chgData name="Isabelle LEBO" userId="S::ma4349@bpifrance.fr::f1c985e3-394e-48e8-9a67-d1528b48b78a" providerId="AD" clId="Web-{4F6EF167-4360-4E2E-AB1D-CBDBC0E77C44}" dt="2023-03-12T12:30:35.192" v="0"/>
          <pc:sldLayoutMkLst>
            <pc:docMk/>
            <pc:sldMasterMk cId="0" sldId="2147483776"/>
            <pc:sldLayoutMk cId="0" sldId="2147483746"/>
          </pc:sldLayoutMkLst>
        </pc:sldLayoutChg>
        <pc:sldLayoutChg chg="add">
          <pc:chgData name="Isabelle LEBO" userId="S::ma4349@bpifrance.fr::f1c985e3-394e-48e8-9a67-d1528b48b78a" providerId="AD" clId="Web-{4F6EF167-4360-4E2E-AB1D-CBDBC0E77C44}" dt="2023-03-12T12:30:35.192" v="0"/>
          <pc:sldLayoutMkLst>
            <pc:docMk/>
            <pc:sldMasterMk cId="0" sldId="2147483776"/>
            <pc:sldLayoutMk cId="0" sldId="2147483747"/>
          </pc:sldLayoutMkLst>
        </pc:sldLayoutChg>
        <pc:sldLayoutChg chg="add">
          <pc:chgData name="Isabelle LEBO" userId="S::ma4349@bpifrance.fr::f1c985e3-394e-48e8-9a67-d1528b48b78a" providerId="AD" clId="Web-{4F6EF167-4360-4E2E-AB1D-CBDBC0E77C44}" dt="2023-03-12T12:30:35.192" v="0"/>
          <pc:sldLayoutMkLst>
            <pc:docMk/>
            <pc:sldMasterMk cId="0" sldId="2147483776"/>
            <pc:sldLayoutMk cId="3658310695" sldId="2147483748"/>
          </pc:sldLayoutMkLst>
        </pc:sldLayoutChg>
        <pc:sldLayoutChg chg="add">
          <pc:chgData name="Isabelle LEBO" userId="S::ma4349@bpifrance.fr::f1c985e3-394e-48e8-9a67-d1528b48b78a" providerId="AD" clId="Web-{4F6EF167-4360-4E2E-AB1D-CBDBC0E77C44}" dt="2023-03-12T12:30:35.192" v="0"/>
          <pc:sldLayoutMkLst>
            <pc:docMk/>
            <pc:sldMasterMk cId="0" sldId="2147483776"/>
            <pc:sldLayoutMk cId="0" sldId="2147483777"/>
          </pc:sldLayoutMkLst>
        </pc:sldLayoutChg>
        <pc:sldLayoutChg chg="add">
          <pc:chgData name="Isabelle LEBO" userId="S::ma4349@bpifrance.fr::f1c985e3-394e-48e8-9a67-d1528b48b78a" providerId="AD" clId="Web-{4F6EF167-4360-4E2E-AB1D-CBDBC0E77C44}" dt="2023-03-12T12:30:35.192" v="0"/>
          <pc:sldLayoutMkLst>
            <pc:docMk/>
            <pc:sldMasterMk cId="0" sldId="2147483776"/>
            <pc:sldLayoutMk cId="2342783591" sldId="2147483778"/>
          </pc:sldLayoutMkLst>
        </pc:sldLayoutChg>
        <pc:sldLayoutChg chg="add">
          <pc:chgData name="Isabelle LEBO" userId="S::ma4349@bpifrance.fr::f1c985e3-394e-48e8-9a67-d1528b48b78a" providerId="AD" clId="Web-{4F6EF167-4360-4E2E-AB1D-CBDBC0E77C44}" dt="2023-03-12T12:30:35.192" v="0"/>
          <pc:sldLayoutMkLst>
            <pc:docMk/>
            <pc:sldMasterMk cId="0" sldId="2147483776"/>
            <pc:sldLayoutMk cId="703205203" sldId="2147483779"/>
          </pc:sldLayoutMkLst>
        </pc:sldLayoutChg>
        <pc:sldLayoutChg chg="add">
          <pc:chgData name="Isabelle LEBO" userId="S::ma4349@bpifrance.fr::f1c985e3-394e-48e8-9a67-d1528b48b78a" providerId="AD" clId="Web-{4F6EF167-4360-4E2E-AB1D-CBDBC0E77C44}" dt="2023-03-12T12:30:35.192" v="0"/>
          <pc:sldLayoutMkLst>
            <pc:docMk/>
            <pc:sldMasterMk cId="0" sldId="2147483776"/>
            <pc:sldLayoutMk cId="1142282616" sldId="2147483780"/>
          </pc:sldLayoutMkLst>
        </pc:sldLayoutChg>
        <pc:sldLayoutChg chg="add">
          <pc:chgData name="Isabelle LEBO" userId="S::ma4349@bpifrance.fr::f1c985e3-394e-48e8-9a67-d1528b48b78a" providerId="AD" clId="Web-{4F6EF167-4360-4E2E-AB1D-CBDBC0E77C44}" dt="2023-03-12T12:30:35.192" v="0"/>
          <pc:sldLayoutMkLst>
            <pc:docMk/>
            <pc:sldMasterMk cId="0" sldId="2147483776"/>
            <pc:sldLayoutMk cId="2494523797" sldId="2147483781"/>
          </pc:sldLayoutMkLst>
        </pc:sldLayoutChg>
        <pc:sldLayoutChg chg="add">
          <pc:chgData name="Isabelle LEBO" userId="S::ma4349@bpifrance.fr::f1c985e3-394e-48e8-9a67-d1528b48b78a" providerId="AD" clId="Web-{4F6EF167-4360-4E2E-AB1D-CBDBC0E77C44}" dt="2023-03-12T12:30:35.192" v="0"/>
          <pc:sldLayoutMkLst>
            <pc:docMk/>
            <pc:sldMasterMk cId="0" sldId="2147483776"/>
            <pc:sldLayoutMk cId="919164368" sldId="2147483782"/>
          </pc:sldLayoutMkLst>
        </pc:sldLayoutChg>
        <pc:sldLayoutChg chg="add">
          <pc:chgData name="Isabelle LEBO" userId="S::ma4349@bpifrance.fr::f1c985e3-394e-48e8-9a67-d1528b48b78a" providerId="AD" clId="Web-{4F6EF167-4360-4E2E-AB1D-CBDBC0E77C44}" dt="2023-03-12T12:30:35.192" v="0"/>
          <pc:sldLayoutMkLst>
            <pc:docMk/>
            <pc:sldMasterMk cId="0" sldId="2147483776"/>
            <pc:sldLayoutMk cId="2498039212" sldId="2147483783"/>
          </pc:sldLayoutMkLst>
        </pc:sldLayoutChg>
        <pc:sldLayoutChg chg="add">
          <pc:chgData name="Isabelle LEBO" userId="S::ma4349@bpifrance.fr::f1c985e3-394e-48e8-9a67-d1528b48b78a" providerId="AD" clId="Web-{4F6EF167-4360-4E2E-AB1D-CBDBC0E77C44}" dt="2023-03-12T12:30:35.192" v="0"/>
          <pc:sldLayoutMkLst>
            <pc:docMk/>
            <pc:sldMasterMk cId="0" sldId="2147483776"/>
            <pc:sldLayoutMk cId="1986426206" sldId="2147483784"/>
          </pc:sldLayoutMkLst>
        </pc:sldLayoutChg>
        <pc:sldLayoutChg chg="add">
          <pc:chgData name="Isabelle LEBO" userId="S::ma4349@bpifrance.fr::f1c985e3-394e-48e8-9a67-d1528b48b78a" providerId="AD" clId="Web-{4F6EF167-4360-4E2E-AB1D-CBDBC0E77C44}" dt="2023-03-12T12:30:35.192" v="0"/>
          <pc:sldLayoutMkLst>
            <pc:docMk/>
            <pc:sldMasterMk cId="0" sldId="2147483776"/>
            <pc:sldLayoutMk cId="0" sldId="2147483785"/>
          </pc:sldLayoutMkLst>
        </pc:sldLayoutChg>
        <pc:sldLayoutChg chg="add">
          <pc:chgData name="Isabelle LEBO" userId="S::ma4349@bpifrance.fr::f1c985e3-394e-48e8-9a67-d1528b48b78a" providerId="AD" clId="Web-{4F6EF167-4360-4E2E-AB1D-CBDBC0E77C44}" dt="2023-03-12T12:30:35.192" v="0"/>
          <pc:sldLayoutMkLst>
            <pc:docMk/>
            <pc:sldMasterMk cId="0" sldId="2147483776"/>
            <pc:sldLayoutMk cId="4072754290" sldId="2147483786"/>
          </pc:sldLayoutMkLst>
        </pc:sldLayoutChg>
        <pc:sldLayoutChg chg="add">
          <pc:chgData name="Isabelle LEBO" userId="S::ma4349@bpifrance.fr::f1c985e3-394e-48e8-9a67-d1528b48b78a" providerId="AD" clId="Web-{4F6EF167-4360-4E2E-AB1D-CBDBC0E77C44}" dt="2023-03-12T12:30:35.192" v="0"/>
          <pc:sldLayoutMkLst>
            <pc:docMk/>
            <pc:sldMasterMk cId="0" sldId="2147483776"/>
            <pc:sldLayoutMk cId="3349151917" sldId="2147483787"/>
          </pc:sldLayoutMkLst>
        </pc:sldLayoutChg>
        <pc:sldLayoutChg chg="add">
          <pc:chgData name="Isabelle LEBO" userId="S::ma4349@bpifrance.fr::f1c985e3-394e-48e8-9a67-d1528b48b78a" providerId="AD" clId="Web-{4F6EF167-4360-4E2E-AB1D-CBDBC0E77C44}" dt="2023-03-12T12:30:35.192" v="0"/>
          <pc:sldLayoutMkLst>
            <pc:docMk/>
            <pc:sldMasterMk cId="0" sldId="2147483776"/>
            <pc:sldLayoutMk cId="3844626349" sldId="2147483788"/>
          </pc:sldLayoutMkLst>
        </pc:sldLayoutChg>
        <pc:sldLayoutChg chg="add">
          <pc:chgData name="Isabelle LEBO" userId="S::ma4349@bpifrance.fr::f1c985e3-394e-48e8-9a67-d1528b48b78a" providerId="AD" clId="Web-{4F6EF167-4360-4E2E-AB1D-CBDBC0E77C44}" dt="2023-03-12T12:30:35.192" v="0"/>
          <pc:sldLayoutMkLst>
            <pc:docMk/>
            <pc:sldMasterMk cId="0" sldId="2147483776"/>
            <pc:sldLayoutMk cId="1825413448" sldId="2147483789"/>
          </pc:sldLayoutMkLst>
        </pc:sldLayoutChg>
        <pc:sldLayoutChg chg="add">
          <pc:chgData name="Isabelle LEBO" userId="S::ma4349@bpifrance.fr::f1c985e3-394e-48e8-9a67-d1528b48b78a" providerId="AD" clId="Web-{4F6EF167-4360-4E2E-AB1D-CBDBC0E77C44}" dt="2023-03-12T12:30:35.192" v="0"/>
          <pc:sldLayoutMkLst>
            <pc:docMk/>
            <pc:sldMasterMk cId="0" sldId="2147483776"/>
            <pc:sldLayoutMk cId="731766671" sldId="2147483790"/>
          </pc:sldLayoutMkLst>
        </pc:sldLayoutChg>
        <pc:sldLayoutChg chg="add">
          <pc:chgData name="Isabelle LEBO" userId="S::ma4349@bpifrance.fr::f1c985e3-394e-48e8-9a67-d1528b48b78a" providerId="AD" clId="Web-{4F6EF167-4360-4E2E-AB1D-CBDBC0E77C44}" dt="2023-03-12T12:30:35.192" v="0"/>
          <pc:sldLayoutMkLst>
            <pc:docMk/>
            <pc:sldMasterMk cId="0" sldId="2147483776"/>
            <pc:sldLayoutMk cId="1144610768" sldId="2147483791"/>
          </pc:sldLayoutMkLst>
        </pc:sldLayoutChg>
        <pc:sldLayoutChg chg="add">
          <pc:chgData name="Isabelle LEBO" userId="S::ma4349@bpifrance.fr::f1c985e3-394e-48e8-9a67-d1528b48b78a" providerId="AD" clId="Web-{4F6EF167-4360-4E2E-AB1D-CBDBC0E77C44}" dt="2023-03-12T12:30:35.192" v="0"/>
          <pc:sldLayoutMkLst>
            <pc:docMk/>
            <pc:sldMasterMk cId="0" sldId="2147483776"/>
            <pc:sldLayoutMk cId="3573507931" sldId="2147483792"/>
          </pc:sldLayoutMkLst>
        </pc:sldLayoutChg>
        <pc:sldLayoutChg chg="add">
          <pc:chgData name="Isabelle LEBO" userId="S::ma4349@bpifrance.fr::f1c985e3-394e-48e8-9a67-d1528b48b78a" providerId="AD" clId="Web-{4F6EF167-4360-4E2E-AB1D-CBDBC0E77C44}" dt="2023-03-12T12:30:35.192" v="0"/>
          <pc:sldLayoutMkLst>
            <pc:docMk/>
            <pc:sldMasterMk cId="0" sldId="2147483776"/>
            <pc:sldLayoutMk cId="2722654758" sldId="2147483793"/>
          </pc:sldLayoutMkLst>
        </pc:sldLayoutChg>
        <pc:sldLayoutChg chg="add">
          <pc:chgData name="Isabelle LEBO" userId="S::ma4349@bpifrance.fr::f1c985e3-394e-48e8-9a67-d1528b48b78a" providerId="AD" clId="Web-{4F6EF167-4360-4E2E-AB1D-CBDBC0E77C44}" dt="2023-03-12T12:30:35.192" v="0"/>
          <pc:sldLayoutMkLst>
            <pc:docMk/>
            <pc:sldMasterMk cId="0" sldId="2147483776"/>
            <pc:sldLayoutMk cId="2182212720" sldId="2147483794"/>
          </pc:sldLayoutMkLst>
        </pc:sldLayoutChg>
      </pc:sldMasterChg>
    </pc:docChg>
  </pc:docChgLst>
  <pc:docChgLst>
    <pc:chgData name="Isabelle LEBO" userId="S::ma4349@bpifrance.fr::f1c985e3-394e-48e8-9a67-d1528b48b78a" providerId="AD" clId="Web-{9CA69595-A13C-4788-A0D3-DCBA96487963}"/>
    <pc:docChg chg="addSld delSld">
      <pc:chgData name="Isabelle LEBO" userId="S::ma4349@bpifrance.fr::f1c985e3-394e-48e8-9a67-d1528b48b78a" providerId="AD" clId="Web-{9CA69595-A13C-4788-A0D3-DCBA96487963}" dt="2023-03-12T12:24:35.515" v="1"/>
      <pc:docMkLst>
        <pc:docMk/>
      </pc:docMkLst>
      <pc:sldChg chg="del">
        <pc:chgData name="Isabelle LEBO" userId="S::ma4349@bpifrance.fr::f1c985e3-394e-48e8-9a67-d1528b48b78a" providerId="AD" clId="Web-{9CA69595-A13C-4788-A0D3-DCBA96487963}" dt="2023-03-12T12:24:35.515" v="1"/>
        <pc:sldMkLst>
          <pc:docMk/>
          <pc:sldMk cId="3041241017" sldId="426"/>
        </pc:sldMkLst>
      </pc:sldChg>
      <pc:sldChg chg="add">
        <pc:chgData name="Isabelle LEBO" userId="S::ma4349@bpifrance.fr::f1c985e3-394e-48e8-9a67-d1528b48b78a" providerId="AD" clId="Web-{9CA69595-A13C-4788-A0D3-DCBA96487963}" dt="2023-03-12T12:24:13.920" v="0"/>
        <pc:sldMkLst>
          <pc:docMk/>
          <pc:sldMk cId="3390228256" sldId="3951"/>
        </pc:sldMkLst>
      </pc:sldChg>
      <pc:sldMasterChg chg="addSldLayout">
        <pc:chgData name="Isabelle LEBO" userId="S::ma4349@bpifrance.fr::f1c985e3-394e-48e8-9a67-d1528b48b78a" providerId="AD" clId="Web-{9CA69595-A13C-4788-A0D3-DCBA96487963}" dt="2023-03-12T12:24:13.920" v="0"/>
        <pc:sldMasterMkLst>
          <pc:docMk/>
          <pc:sldMasterMk cId="0" sldId="2147483719"/>
        </pc:sldMasterMkLst>
        <pc:sldLayoutChg chg="add">
          <pc:chgData name="Isabelle LEBO" userId="S::ma4349@bpifrance.fr::f1c985e3-394e-48e8-9a67-d1528b48b78a" providerId="AD" clId="Web-{9CA69595-A13C-4788-A0D3-DCBA96487963}" dt="2023-03-12T12:24:13.920" v="0"/>
          <pc:sldLayoutMkLst>
            <pc:docMk/>
            <pc:sldMasterMk cId="0" sldId="2147483719"/>
            <pc:sldLayoutMk cId="1428033082" sldId="2147483663"/>
          </pc:sldLayoutMkLst>
        </pc:sldLayoutChg>
        <pc:sldLayoutChg chg="add">
          <pc:chgData name="Isabelle LEBO" userId="S::ma4349@bpifrance.fr::f1c985e3-394e-48e8-9a67-d1528b48b78a" providerId="AD" clId="Web-{9CA69595-A13C-4788-A0D3-DCBA96487963}" dt="2023-03-12T12:24:13.920" v="0"/>
          <pc:sldLayoutMkLst>
            <pc:docMk/>
            <pc:sldMasterMk cId="0" sldId="2147483719"/>
            <pc:sldLayoutMk cId="3942659167" sldId="2147483664"/>
          </pc:sldLayoutMkLst>
        </pc:sldLayoutChg>
        <pc:sldLayoutChg chg="add">
          <pc:chgData name="Isabelle LEBO" userId="S::ma4349@bpifrance.fr::f1c985e3-394e-48e8-9a67-d1528b48b78a" providerId="AD" clId="Web-{9CA69595-A13C-4788-A0D3-DCBA96487963}" dt="2023-03-12T12:24:13.920" v="0"/>
          <pc:sldLayoutMkLst>
            <pc:docMk/>
            <pc:sldMasterMk cId="0" sldId="2147483719"/>
            <pc:sldLayoutMk cId="4219391455" sldId="2147483665"/>
          </pc:sldLayoutMkLst>
        </pc:sldLayoutChg>
        <pc:sldLayoutChg chg="add">
          <pc:chgData name="Isabelle LEBO" userId="S::ma4349@bpifrance.fr::f1c985e3-394e-48e8-9a67-d1528b48b78a" providerId="AD" clId="Web-{9CA69595-A13C-4788-A0D3-DCBA96487963}" dt="2023-03-12T12:24:13.920" v="0"/>
          <pc:sldLayoutMkLst>
            <pc:docMk/>
            <pc:sldMasterMk cId="0" sldId="2147483719"/>
            <pc:sldLayoutMk cId="1619616855" sldId="2147483669"/>
          </pc:sldLayoutMkLst>
        </pc:sldLayoutChg>
        <pc:sldLayoutChg chg="add">
          <pc:chgData name="Isabelle LEBO" userId="S::ma4349@bpifrance.fr::f1c985e3-394e-48e8-9a67-d1528b48b78a" providerId="AD" clId="Web-{9CA69595-A13C-4788-A0D3-DCBA96487963}" dt="2023-03-12T12:24:13.920" v="0"/>
          <pc:sldLayoutMkLst>
            <pc:docMk/>
            <pc:sldMasterMk cId="0" sldId="2147483719"/>
            <pc:sldLayoutMk cId="4049993786" sldId="2147483670"/>
          </pc:sldLayoutMkLst>
        </pc:sldLayoutChg>
        <pc:sldLayoutChg chg="add">
          <pc:chgData name="Isabelle LEBO" userId="S::ma4349@bpifrance.fr::f1c985e3-394e-48e8-9a67-d1528b48b78a" providerId="AD" clId="Web-{9CA69595-A13C-4788-A0D3-DCBA96487963}" dt="2023-03-12T12:24:13.920" v="0"/>
          <pc:sldLayoutMkLst>
            <pc:docMk/>
            <pc:sldMasterMk cId="0" sldId="2147483719"/>
            <pc:sldLayoutMk cId="539271068" sldId="2147483672"/>
          </pc:sldLayoutMkLst>
        </pc:sldLayoutChg>
        <pc:sldLayoutChg chg="add">
          <pc:chgData name="Isabelle LEBO" userId="S::ma4349@bpifrance.fr::f1c985e3-394e-48e8-9a67-d1528b48b78a" providerId="AD" clId="Web-{9CA69595-A13C-4788-A0D3-DCBA96487963}" dt="2023-03-12T12:24:13.920" v="0"/>
          <pc:sldLayoutMkLst>
            <pc:docMk/>
            <pc:sldMasterMk cId="0" sldId="2147483719"/>
            <pc:sldLayoutMk cId="1534593297" sldId="2147483675"/>
          </pc:sldLayoutMkLst>
        </pc:sldLayoutChg>
        <pc:sldLayoutChg chg="add">
          <pc:chgData name="Isabelle LEBO" userId="S::ma4349@bpifrance.fr::f1c985e3-394e-48e8-9a67-d1528b48b78a" providerId="AD" clId="Web-{9CA69595-A13C-4788-A0D3-DCBA96487963}" dt="2023-03-12T12:24:13.920" v="0"/>
          <pc:sldLayoutMkLst>
            <pc:docMk/>
            <pc:sldMasterMk cId="0" sldId="2147483719"/>
            <pc:sldLayoutMk cId="253870291" sldId="2147483677"/>
          </pc:sldLayoutMkLst>
        </pc:sldLayoutChg>
        <pc:sldLayoutChg chg="add">
          <pc:chgData name="Isabelle LEBO" userId="S::ma4349@bpifrance.fr::f1c985e3-394e-48e8-9a67-d1528b48b78a" providerId="AD" clId="Web-{9CA69595-A13C-4788-A0D3-DCBA96487963}" dt="2023-03-12T12:24:13.920" v="0"/>
          <pc:sldLayoutMkLst>
            <pc:docMk/>
            <pc:sldMasterMk cId="0" sldId="2147483719"/>
            <pc:sldLayoutMk cId="1231994420" sldId="2147483678"/>
          </pc:sldLayoutMkLst>
        </pc:sldLayoutChg>
        <pc:sldLayoutChg chg="add">
          <pc:chgData name="Isabelle LEBO" userId="S::ma4349@bpifrance.fr::f1c985e3-394e-48e8-9a67-d1528b48b78a" providerId="AD" clId="Web-{9CA69595-A13C-4788-A0D3-DCBA96487963}" dt="2023-03-12T12:24:13.920" v="0"/>
          <pc:sldLayoutMkLst>
            <pc:docMk/>
            <pc:sldMasterMk cId="0" sldId="2147483719"/>
            <pc:sldLayoutMk cId="1839875260" sldId="2147483679"/>
          </pc:sldLayoutMkLst>
        </pc:sldLayoutChg>
        <pc:sldLayoutChg chg="add">
          <pc:chgData name="Isabelle LEBO" userId="S::ma4349@bpifrance.fr::f1c985e3-394e-48e8-9a67-d1528b48b78a" providerId="AD" clId="Web-{9CA69595-A13C-4788-A0D3-DCBA96487963}" dt="2023-03-12T12:24:13.920" v="0"/>
          <pc:sldLayoutMkLst>
            <pc:docMk/>
            <pc:sldMasterMk cId="0" sldId="2147483719"/>
            <pc:sldLayoutMk cId="4204355829" sldId="2147483680"/>
          </pc:sldLayoutMkLst>
        </pc:sldLayoutChg>
        <pc:sldLayoutChg chg="add">
          <pc:chgData name="Isabelle LEBO" userId="S::ma4349@bpifrance.fr::f1c985e3-394e-48e8-9a67-d1528b48b78a" providerId="AD" clId="Web-{9CA69595-A13C-4788-A0D3-DCBA96487963}" dt="2023-03-12T12:24:13.920" v="0"/>
          <pc:sldLayoutMkLst>
            <pc:docMk/>
            <pc:sldMasterMk cId="0" sldId="2147483719"/>
            <pc:sldLayoutMk cId="2210876977" sldId="2147483681"/>
          </pc:sldLayoutMkLst>
        </pc:sldLayoutChg>
        <pc:sldLayoutChg chg="add">
          <pc:chgData name="Isabelle LEBO" userId="S::ma4349@bpifrance.fr::f1c985e3-394e-48e8-9a67-d1528b48b78a" providerId="AD" clId="Web-{9CA69595-A13C-4788-A0D3-DCBA96487963}" dt="2023-03-12T12:24:13.920" v="0"/>
          <pc:sldLayoutMkLst>
            <pc:docMk/>
            <pc:sldMasterMk cId="0" sldId="2147483719"/>
            <pc:sldLayoutMk cId="25583666" sldId="2147483682"/>
          </pc:sldLayoutMkLst>
        </pc:sldLayoutChg>
        <pc:sldLayoutChg chg="add">
          <pc:chgData name="Isabelle LEBO" userId="S::ma4349@bpifrance.fr::f1c985e3-394e-48e8-9a67-d1528b48b78a" providerId="AD" clId="Web-{9CA69595-A13C-4788-A0D3-DCBA96487963}" dt="2023-03-12T12:24:13.920" v="0"/>
          <pc:sldLayoutMkLst>
            <pc:docMk/>
            <pc:sldMasterMk cId="0" sldId="2147483719"/>
            <pc:sldLayoutMk cId="713409939" sldId="2147483683"/>
          </pc:sldLayoutMkLst>
        </pc:sldLayoutChg>
        <pc:sldLayoutChg chg="add">
          <pc:chgData name="Isabelle LEBO" userId="S::ma4349@bpifrance.fr::f1c985e3-394e-48e8-9a67-d1528b48b78a" providerId="AD" clId="Web-{9CA69595-A13C-4788-A0D3-DCBA96487963}" dt="2023-03-12T12:24:13.920" v="0"/>
          <pc:sldLayoutMkLst>
            <pc:docMk/>
            <pc:sldMasterMk cId="0" sldId="2147483719"/>
            <pc:sldLayoutMk cId="3896867069" sldId="2147483684"/>
          </pc:sldLayoutMkLst>
        </pc:sldLayoutChg>
        <pc:sldLayoutChg chg="add">
          <pc:chgData name="Isabelle LEBO" userId="S::ma4349@bpifrance.fr::f1c985e3-394e-48e8-9a67-d1528b48b78a" providerId="AD" clId="Web-{9CA69595-A13C-4788-A0D3-DCBA96487963}" dt="2023-03-12T12:24:13.920" v="0"/>
          <pc:sldLayoutMkLst>
            <pc:docMk/>
            <pc:sldMasterMk cId="0" sldId="2147483719"/>
            <pc:sldLayoutMk cId="1071636659" sldId="2147483685"/>
          </pc:sldLayoutMkLst>
        </pc:sldLayoutChg>
        <pc:sldLayoutChg chg="add">
          <pc:chgData name="Isabelle LEBO" userId="S::ma4349@bpifrance.fr::f1c985e3-394e-48e8-9a67-d1528b48b78a" providerId="AD" clId="Web-{9CA69595-A13C-4788-A0D3-DCBA96487963}" dt="2023-03-12T12:24:13.920" v="0"/>
          <pc:sldLayoutMkLst>
            <pc:docMk/>
            <pc:sldMasterMk cId="0" sldId="2147483719"/>
            <pc:sldLayoutMk cId="963254220" sldId="2147483686"/>
          </pc:sldLayoutMkLst>
        </pc:sldLayoutChg>
        <pc:sldLayoutChg chg="add">
          <pc:chgData name="Isabelle LEBO" userId="S::ma4349@bpifrance.fr::f1c985e3-394e-48e8-9a67-d1528b48b78a" providerId="AD" clId="Web-{9CA69595-A13C-4788-A0D3-DCBA96487963}" dt="2023-03-12T12:24:13.920" v="0"/>
          <pc:sldLayoutMkLst>
            <pc:docMk/>
            <pc:sldMasterMk cId="0" sldId="2147483719"/>
            <pc:sldLayoutMk cId="2637598553" sldId="2147483752"/>
          </pc:sldLayoutMkLst>
        </pc:sldLayoutChg>
        <pc:sldLayoutChg chg="add">
          <pc:chgData name="Isabelle LEBO" userId="S::ma4349@bpifrance.fr::f1c985e3-394e-48e8-9a67-d1528b48b78a" providerId="AD" clId="Web-{9CA69595-A13C-4788-A0D3-DCBA96487963}" dt="2023-03-12T12:24:13.920" v="0"/>
          <pc:sldLayoutMkLst>
            <pc:docMk/>
            <pc:sldMasterMk cId="0" sldId="2147483719"/>
            <pc:sldLayoutMk cId="3523817825" sldId="2147483753"/>
          </pc:sldLayoutMkLst>
        </pc:sldLayoutChg>
        <pc:sldLayoutChg chg="add">
          <pc:chgData name="Isabelle LEBO" userId="S::ma4349@bpifrance.fr::f1c985e3-394e-48e8-9a67-d1528b48b78a" providerId="AD" clId="Web-{9CA69595-A13C-4788-A0D3-DCBA96487963}" dt="2023-03-12T12:24:13.920" v="0"/>
          <pc:sldLayoutMkLst>
            <pc:docMk/>
            <pc:sldMasterMk cId="0" sldId="2147483719"/>
            <pc:sldLayoutMk cId="2458386468" sldId="2147483754"/>
          </pc:sldLayoutMkLst>
        </pc:sldLayoutChg>
        <pc:sldLayoutChg chg="add">
          <pc:chgData name="Isabelle LEBO" userId="S::ma4349@bpifrance.fr::f1c985e3-394e-48e8-9a67-d1528b48b78a" providerId="AD" clId="Web-{9CA69595-A13C-4788-A0D3-DCBA96487963}" dt="2023-03-12T12:24:13.920" v="0"/>
          <pc:sldLayoutMkLst>
            <pc:docMk/>
            <pc:sldMasterMk cId="0" sldId="2147483719"/>
            <pc:sldLayoutMk cId="1924702481" sldId="2147483756"/>
          </pc:sldLayoutMkLst>
        </pc:sldLayoutChg>
        <pc:sldLayoutChg chg="add">
          <pc:chgData name="Isabelle LEBO" userId="S::ma4349@bpifrance.fr::f1c985e3-394e-48e8-9a67-d1528b48b78a" providerId="AD" clId="Web-{9CA69595-A13C-4788-A0D3-DCBA96487963}" dt="2023-03-12T12:24:13.920" v="0"/>
          <pc:sldLayoutMkLst>
            <pc:docMk/>
            <pc:sldMasterMk cId="0" sldId="2147483719"/>
            <pc:sldLayoutMk cId="3538569769" sldId="2147483763"/>
          </pc:sldLayoutMkLst>
        </pc:sldLayoutChg>
        <pc:sldLayoutChg chg="add">
          <pc:chgData name="Isabelle LEBO" userId="S::ma4349@bpifrance.fr::f1c985e3-394e-48e8-9a67-d1528b48b78a" providerId="AD" clId="Web-{9CA69595-A13C-4788-A0D3-DCBA96487963}" dt="2023-03-12T12:24:13.920" v="0"/>
          <pc:sldLayoutMkLst>
            <pc:docMk/>
            <pc:sldMasterMk cId="0" sldId="2147483719"/>
            <pc:sldLayoutMk cId="1438041211" sldId="2147483764"/>
          </pc:sldLayoutMkLst>
        </pc:sldLayoutChg>
        <pc:sldLayoutChg chg="add">
          <pc:chgData name="Isabelle LEBO" userId="S::ma4349@bpifrance.fr::f1c985e3-394e-48e8-9a67-d1528b48b78a" providerId="AD" clId="Web-{9CA69595-A13C-4788-A0D3-DCBA96487963}" dt="2023-03-12T12:24:13.920" v="0"/>
          <pc:sldLayoutMkLst>
            <pc:docMk/>
            <pc:sldMasterMk cId="0" sldId="2147483719"/>
            <pc:sldLayoutMk cId="1465287913" sldId="2147483773"/>
          </pc:sldLayoutMkLst>
        </pc:sldLayoutChg>
        <pc:sldLayoutChg chg="add">
          <pc:chgData name="Isabelle LEBO" userId="S::ma4349@bpifrance.fr::f1c985e3-394e-48e8-9a67-d1528b48b78a" providerId="AD" clId="Web-{9CA69595-A13C-4788-A0D3-DCBA96487963}" dt="2023-03-12T12:24:13.920" v="0"/>
          <pc:sldLayoutMkLst>
            <pc:docMk/>
            <pc:sldMasterMk cId="0" sldId="2147483719"/>
            <pc:sldLayoutMk cId="376095798" sldId="2147483774"/>
          </pc:sldLayoutMkLst>
        </pc:sldLayoutChg>
        <pc:sldLayoutChg chg="add">
          <pc:chgData name="Isabelle LEBO" userId="S::ma4349@bpifrance.fr::f1c985e3-394e-48e8-9a67-d1528b48b78a" providerId="AD" clId="Web-{9CA69595-A13C-4788-A0D3-DCBA96487963}" dt="2023-03-12T12:24:13.920" v="0"/>
          <pc:sldLayoutMkLst>
            <pc:docMk/>
            <pc:sldMasterMk cId="0" sldId="2147483719"/>
            <pc:sldLayoutMk cId="3203796131" sldId="2147483775"/>
          </pc:sldLayoutMkLst>
        </pc:sldLayoutChg>
      </pc:sldMasterChg>
    </pc:docChg>
  </pc:docChgLst>
  <pc:docChgLst>
    <pc:chgData name="Hugo MAGAND" userId="f575a7ec-3597-4307-bc5f-2bb0be5a3030" providerId="ADAL" clId="{7B0A39B9-6CF4-484B-8841-40E8E4C15AA4}"/>
    <pc:docChg chg="undo custSel modSld">
      <pc:chgData name="Hugo MAGAND" userId="f575a7ec-3597-4307-bc5f-2bb0be5a3030" providerId="ADAL" clId="{7B0A39B9-6CF4-484B-8841-40E8E4C15AA4}" dt="2023-03-01T10:29:35.431" v="126" actId="478"/>
      <pc:docMkLst>
        <pc:docMk/>
      </pc:docMkLst>
      <pc:sldChg chg="addSp delSp modSp mod">
        <pc:chgData name="Hugo MAGAND" userId="f575a7ec-3597-4307-bc5f-2bb0be5a3030" providerId="ADAL" clId="{7B0A39B9-6CF4-484B-8841-40E8E4C15AA4}" dt="2023-03-01T10:29:35.431" v="126" actId="478"/>
        <pc:sldMkLst>
          <pc:docMk/>
          <pc:sldMk cId="1576789958" sldId="3942"/>
        </pc:sldMkLst>
        <pc:spChg chg="del">
          <ac:chgData name="Hugo MAGAND" userId="f575a7ec-3597-4307-bc5f-2bb0be5a3030" providerId="ADAL" clId="{7B0A39B9-6CF4-484B-8841-40E8E4C15AA4}" dt="2023-03-01T10:29:33.683" v="125" actId="478"/>
          <ac:spMkLst>
            <pc:docMk/>
            <pc:sldMk cId="1576789958" sldId="3942"/>
            <ac:spMk id="2" creationId="{BF2449A4-160E-91CB-4649-554B766319E9}"/>
          </ac:spMkLst>
        </pc:spChg>
        <pc:spChg chg="mod">
          <ac:chgData name="Hugo MAGAND" userId="f575a7ec-3597-4307-bc5f-2bb0be5a3030" providerId="ADAL" clId="{7B0A39B9-6CF4-484B-8841-40E8E4C15AA4}" dt="2023-03-01T09:54:13.151" v="80" actId="1076"/>
          <ac:spMkLst>
            <pc:docMk/>
            <pc:sldMk cId="1576789958" sldId="3942"/>
            <ac:spMk id="3" creationId="{86B119E0-CA24-8F71-28ED-D4C51E294853}"/>
          </ac:spMkLst>
        </pc:spChg>
        <pc:spChg chg="add mod">
          <ac:chgData name="Hugo MAGAND" userId="f575a7ec-3597-4307-bc5f-2bb0be5a3030" providerId="ADAL" clId="{7B0A39B9-6CF4-484B-8841-40E8E4C15AA4}" dt="2023-03-01T09:46:33.543" v="70" actId="1076"/>
          <ac:spMkLst>
            <pc:docMk/>
            <pc:sldMk cId="1576789958" sldId="3942"/>
            <ac:spMk id="8" creationId="{2BC875DC-21A3-BC14-7CF1-AEA0B64869BC}"/>
          </ac:spMkLst>
        </pc:spChg>
        <pc:spChg chg="add del">
          <ac:chgData name="Hugo MAGAND" userId="f575a7ec-3597-4307-bc5f-2bb0be5a3030" providerId="ADAL" clId="{7B0A39B9-6CF4-484B-8841-40E8E4C15AA4}" dt="2023-02-28T15:06:48.509" v="40" actId="22"/>
          <ac:spMkLst>
            <pc:docMk/>
            <pc:sldMk cId="1576789958" sldId="3942"/>
            <ac:spMk id="10" creationId="{71D22E2D-45A7-9027-FAA5-C07ED36E444A}"/>
          </ac:spMkLst>
        </pc:spChg>
        <pc:spChg chg="add del">
          <ac:chgData name="Hugo MAGAND" userId="f575a7ec-3597-4307-bc5f-2bb0be5a3030" providerId="ADAL" clId="{7B0A39B9-6CF4-484B-8841-40E8E4C15AA4}" dt="2023-02-28T15:06:50.067" v="42" actId="22"/>
          <ac:spMkLst>
            <pc:docMk/>
            <pc:sldMk cId="1576789958" sldId="3942"/>
            <ac:spMk id="12" creationId="{E8233DB9-D277-CBAC-550F-CCDC72041CAB}"/>
          </ac:spMkLst>
        </pc:spChg>
        <pc:spChg chg="add mod">
          <ac:chgData name="Hugo MAGAND" userId="f575a7ec-3597-4307-bc5f-2bb0be5a3030" providerId="ADAL" clId="{7B0A39B9-6CF4-484B-8841-40E8E4C15AA4}" dt="2023-03-01T09:55:30.878" v="123" actId="207"/>
          <ac:spMkLst>
            <pc:docMk/>
            <pc:sldMk cId="1576789958" sldId="3942"/>
            <ac:spMk id="14" creationId="{95ED7F97-1FCA-2B1E-0166-3287147CB215}"/>
          </ac:spMkLst>
        </pc:spChg>
        <pc:spChg chg="add mod">
          <ac:chgData name="Hugo MAGAND" userId="f575a7ec-3597-4307-bc5f-2bb0be5a3030" providerId="ADAL" clId="{7B0A39B9-6CF4-484B-8841-40E8E4C15AA4}" dt="2023-03-01T10:29:29.445" v="124"/>
          <ac:spMkLst>
            <pc:docMk/>
            <pc:sldMk cId="1576789958" sldId="3942"/>
            <ac:spMk id="15" creationId="{AFADB518-933B-9E8D-4512-C34F43F9A19B}"/>
          </ac:spMkLst>
        </pc:spChg>
        <pc:spChg chg="add del mod">
          <ac:chgData name="Hugo MAGAND" userId="f575a7ec-3597-4307-bc5f-2bb0be5a3030" providerId="ADAL" clId="{7B0A39B9-6CF4-484B-8841-40E8E4C15AA4}" dt="2023-03-01T10:29:35.431" v="126" actId="478"/>
          <ac:spMkLst>
            <pc:docMk/>
            <pc:sldMk cId="1576789958" sldId="3942"/>
            <ac:spMk id="17" creationId="{DA3B277E-28B1-5D84-B488-FB059ED46486}"/>
          </ac:spMkLst>
        </pc:spChg>
        <pc:picChg chg="add del mod">
          <ac:chgData name="Hugo MAGAND" userId="f575a7ec-3597-4307-bc5f-2bb0be5a3030" providerId="ADAL" clId="{7B0A39B9-6CF4-484B-8841-40E8E4C15AA4}" dt="2023-03-01T09:36:39.780" v="46" actId="478"/>
          <ac:picMkLst>
            <pc:docMk/>
            <pc:sldMk cId="1576789958" sldId="3942"/>
            <ac:picMk id="6" creationId="{2D443775-BE72-03ED-7424-30CA13603E5E}"/>
          </ac:picMkLst>
        </pc:picChg>
        <pc:picChg chg="add mod">
          <ac:chgData name="Hugo MAGAND" userId="f575a7ec-3597-4307-bc5f-2bb0be5a3030" providerId="ADAL" clId="{7B0A39B9-6CF4-484B-8841-40E8E4C15AA4}" dt="2023-03-01T09:54:11.995" v="79" actId="1076"/>
          <ac:picMkLst>
            <pc:docMk/>
            <pc:sldMk cId="1576789958" sldId="3942"/>
            <ac:picMk id="1026" creationId="{F2D0149F-1219-D912-4AFA-A28F8881F7AC}"/>
          </ac:picMkLst>
        </pc:picChg>
      </pc:sldChg>
    </pc:docChg>
  </pc:docChgLst>
  <pc:docChgLst>
    <pc:chgData name="Isabelle LEBO" userId="S::ma4349@bpifrance.fr::f1c985e3-394e-48e8-9a67-d1528b48b78a" providerId="AD" clId="Web-{5D9D93C2-B251-4ADF-87D1-54189AFBFDE1}"/>
    <pc:docChg chg="addSld delSld modSld sldOrd">
      <pc:chgData name="Isabelle LEBO" userId="S::ma4349@bpifrance.fr::f1c985e3-394e-48e8-9a67-d1528b48b78a" providerId="AD" clId="Web-{5D9D93C2-B251-4ADF-87D1-54189AFBFDE1}" dt="2023-03-12T17:37:16.217" v="308"/>
      <pc:docMkLst>
        <pc:docMk/>
      </pc:docMkLst>
      <pc:sldChg chg="addSp delSp modSp ord">
        <pc:chgData name="Isabelle LEBO" userId="S::ma4349@bpifrance.fr::f1c985e3-394e-48e8-9a67-d1528b48b78a" providerId="AD" clId="Web-{5D9D93C2-B251-4ADF-87D1-54189AFBFDE1}" dt="2023-03-12T17:34:56.978" v="296" actId="1076"/>
        <pc:sldMkLst>
          <pc:docMk/>
          <pc:sldMk cId="245274946" sldId="1580"/>
        </pc:sldMkLst>
        <pc:spChg chg="mod">
          <ac:chgData name="Isabelle LEBO" userId="S::ma4349@bpifrance.fr::f1c985e3-394e-48e8-9a67-d1528b48b78a" providerId="AD" clId="Web-{5D9D93C2-B251-4ADF-87D1-54189AFBFDE1}" dt="2023-03-12T17:09:05.955" v="14" actId="20577"/>
          <ac:spMkLst>
            <pc:docMk/>
            <pc:sldMk cId="245274946" sldId="1580"/>
            <ac:spMk id="7" creationId="{FE052E61-3FC5-4545-82FA-0AD7AD24DCF8}"/>
          </ac:spMkLst>
        </pc:spChg>
        <pc:picChg chg="del">
          <ac:chgData name="Isabelle LEBO" userId="S::ma4349@bpifrance.fr::f1c985e3-394e-48e8-9a67-d1528b48b78a" providerId="AD" clId="Web-{5D9D93C2-B251-4ADF-87D1-54189AFBFDE1}" dt="2023-03-12T17:08:29.220" v="2"/>
          <ac:picMkLst>
            <pc:docMk/>
            <pc:sldMk cId="245274946" sldId="1580"/>
            <ac:picMk id="8" creationId="{D020EA83-2BCE-4E42-A411-DA49310E0EA4}"/>
          </ac:picMkLst>
        </pc:picChg>
        <pc:picChg chg="add mod modCrop">
          <ac:chgData name="Isabelle LEBO" userId="S::ma4349@bpifrance.fr::f1c985e3-394e-48e8-9a67-d1528b48b78a" providerId="AD" clId="Web-{5D9D93C2-B251-4ADF-87D1-54189AFBFDE1}" dt="2023-03-12T17:34:56.978" v="296" actId="1076"/>
          <ac:picMkLst>
            <pc:docMk/>
            <pc:sldMk cId="245274946" sldId="1580"/>
            <ac:picMk id="22" creationId="{25F125B7-E606-04DD-DB5E-7695D2E2414E}"/>
          </ac:picMkLst>
        </pc:picChg>
      </pc:sldChg>
      <pc:sldChg chg="modSp">
        <pc:chgData name="Isabelle LEBO" userId="S::ma4349@bpifrance.fr::f1c985e3-394e-48e8-9a67-d1528b48b78a" providerId="AD" clId="Web-{5D9D93C2-B251-4ADF-87D1-54189AFBFDE1}" dt="2023-03-12T17:36:22.277" v="307" actId="20577"/>
        <pc:sldMkLst>
          <pc:docMk/>
          <pc:sldMk cId="596822363" sldId="3943"/>
        </pc:sldMkLst>
        <pc:spChg chg="mod">
          <ac:chgData name="Isabelle LEBO" userId="S::ma4349@bpifrance.fr::f1c985e3-394e-48e8-9a67-d1528b48b78a" providerId="AD" clId="Web-{5D9D93C2-B251-4ADF-87D1-54189AFBFDE1}" dt="2023-03-12T17:36:22.277" v="307" actId="20577"/>
          <ac:spMkLst>
            <pc:docMk/>
            <pc:sldMk cId="596822363" sldId="3943"/>
            <ac:spMk id="4" creationId="{263FC635-0A05-D810-BC18-64A2ABDCD6D0}"/>
          </ac:spMkLst>
        </pc:spChg>
      </pc:sldChg>
      <pc:sldChg chg="del">
        <pc:chgData name="Isabelle LEBO" userId="S::ma4349@bpifrance.fr::f1c985e3-394e-48e8-9a67-d1528b48b78a" providerId="AD" clId="Web-{5D9D93C2-B251-4ADF-87D1-54189AFBFDE1}" dt="2023-03-12T17:37:16.217" v="308"/>
        <pc:sldMkLst>
          <pc:docMk/>
          <pc:sldMk cId="2550075578" sldId="3948"/>
        </pc:sldMkLst>
      </pc:sldChg>
      <pc:sldChg chg="del">
        <pc:chgData name="Isabelle LEBO" userId="S::ma4349@bpifrance.fr::f1c985e3-394e-48e8-9a67-d1528b48b78a" providerId="AD" clId="Web-{5D9D93C2-B251-4ADF-87D1-54189AFBFDE1}" dt="2023-03-12T17:35:46.026" v="297"/>
        <pc:sldMkLst>
          <pc:docMk/>
          <pc:sldMk cId="3390228256" sldId="3951"/>
        </pc:sldMkLst>
      </pc:sldChg>
      <pc:sldChg chg="modSp">
        <pc:chgData name="Isabelle LEBO" userId="S::ma4349@bpifrance.fr::f1c985e3-394e-48e8-9a67-d1528b48b78a" providerId="AD" clId="Web-{5D9D93C2-B251-4ADF-87D1-54189AFBFDE1}" dt="2023-03-12T17:36:11.152" v="306" actId="20577"/>
        <pc:sldMkLst>
          <pc:docMk/>
          <pc:sldMk cId="2997668331" sldId="3952"/>
        </pc:sldMkLst>
        <pc:spChg chg="mod">
          <ac:chgData name="Isabelle LEBO" userId="S::ma4349@bpifrance.fr::f1c985e3-394e-48e8-9a67-d1528b48b78a" providerId="AD" clId="Web-{5D9D93C2-B251-4ADF-87D1-54189AFBFDE1}" dt="2023-03-12T17:36:11.152" v="306" actId="20577"/>
          <ac:spMkLst>
            <pc:docMk/>
            <pc:sldMk cId="2997668331" sldId="3952"/>
            <ac:spMk id="7" creationId="{34241ECC-21EB-87D3-ADC1-503BC329C97D}"/>
          </ac:spMkLst>
        </pc:spChg>
      </pc:sldChg>
      <pc:sldChg chg="addSp delSp modSp del">
        <pc:chgData name="Isabelle LEBO" userId="S::ma4349@bpifrance.fr::f1c985e3-394e-48e8-9a67-d1528b48b78a" providerId="AD" clId="Web-{5D9D93C2-B251-4ADF-87D1-54189AFBFDE1}" dt="2023-03-12T17:19:28.225" v="104"/>
        <pc:sldMkLst>
          <pc:docMk/>
          <pc:sldMk cId="1429175669" sldId="3953"/>
        </pc:sldMkLst>
        <pc:spChg chg="add mod">
          <ac:chgData name="Isabelle LEBO" userId="S::ma4349@bpifrance.fr::f1c985e3-394e-48e8-9a67-d1528b48b78a" providerId="AD" clId="Web-{5D9D93C2-B251-4ADF-87D1-54189AFBFDE1}" dt="2023-03-12T17:14:54.388" v="98" actId="1076"/>
          <ac:spMkLst>
            <pc:docMk/>
            <pc:sldMk cId="1429175669" sldId="3953"/>
            <ac:spMk id="5" creationId="{FB9CF083-3D9E-548F-0B6D-A1ECB90CE24D}"/>
          </ac:spMkLst>
        </pc:spChg>
        <pc:spChg chg="add mod">
          <ac:chgData name="Isabelle LEBO" userId="S::ma4349@bpifrance.fr::f1c985e3-394e-48e8-9a67-d1528b48b78a" providerId="AD" clId="Web-{5D9D93C2-B251-4ADF-87D1-54189AFBFDE1}" dt="2023-03-12T17:13:18.152" v="56" actId="20577"/>
          <ac:spMkLst>
            <pc:docMk/>
            <pc:sldMk cId="1429175669" sldId="3953"/>
            <ac:spMk id="11" creationId="{3D950374-7693-21D8-BD2C-38D27B257DBC}"/>
          </ac:spMkLst>
        </pc:spChg>
        <pc:picChg chg="mod">
          <ac:chgData name="Isabelle LEBO" userId="S::ma4349@bpifrance.fr::f1c985e3-394e-48e8-9a67-d1528b48b78a" providerId="AD" clId="Web-{5D9D93C2-B251-4ADF-87D1-54189AFBFDE1}" dt="2023-03-12T17:14:49.810" v="97" actId="1076"/>
          <ac:picMkLst>
            <pc:docMk/>
            <pc:sldMk cId="1429175669" sldId="3953"/>
            <ac:picMk id="7" creationId="{CEE8C74C-41CD-BBB2-3E11-DC914BB753D4}"/>
          </ac:picMkLst>
        </pc:picChg>
        <pc:picChg chg="add del">
          <ac:chgData name="Isabelle LEBO" userId="S::ma4349@bpifrance.fr::f1c985e3-394e-48e8-9a67-d1528b48b78a" providerId="AD" clId="Web-{5D9D93C2-B251-4ADF-87D1-54189AFBFDE1}" dt="2023-03-12T17:12:21.383" v="49"/>
          <ac:picMkLst>
            <pc:docMk/>
            <pc:sldMk cId="1429175669" sldId="3953"/>
            <ac:picMk id="9" creationId="{15C478EE-5359-5CD7-2232-11E54F276D24}"/>
          </ac:picMkLst>
        </pc:picChg>
        <pc:picChg chg="add mod">
          <ac:chgData name="Isabelle LEBO" userId="S::ma4349@bpifrance.fr::f1c985e3-394e-48e8-9a67-d1528b48b78a" providerId="AD" clId="Web-{5D9D93C2-B251-4ADF-87D1-54189AFBFDE1}" dt="2023-03-12T17:18:43.911" v="100" actId="1076"/>
          <ac:picMkLst>
            <pc:docMk/>
            <pc:sldMk cId="1429175669" sldId="3953"/>
            <ac:picMk id="12" creationId="{6312D44C-3802-8DD4-4178-0E0CE2CB6521}"/>
          </ac:picMkLst>
        </pc:picChg>
        <pc:picChg chg="add del mod">
          <ac:chgData name="Isabelle LEBO" userId="S::ma4349@bpifrance.fr::f1c985e3-394e-48e8-9a67-d1528b48b78a" providerId="AD" clId="Web-{5D9D93C2-B251-4ADF-87D1-54189AFBFDE1}" dt="2023-03-12T17:18:58.411" v="103"/>
          <ac:picMkLst>
            <pc:docMk/>
            <pc:sldMk cId="1429175669" sldId="3953"/>
            <ac:picMk id="13" creationId="{3114BB0F-60F7-4E2F-1048-9E94AB8A9DB4}"/>
          </ac:picMkLst>
        </pc:picChg>
      </pc:sldChg>
      <pc:sldChg chg="del">
        <pc:chgData name="Isabelle LEBO" userId="S::ma4349@bpifrance.fr::f1c985e3-394e-48e8-9a67-d1528b48b78a" providerId="AD" clId="Web-{5D9D93C2-B251-4ADF-87D1-54189AFBFDE1}" dt="2023-03-12T17:34:24.680" v="293"/>
        <pc:sldMkLst>
          <pc:docMk/>
          <pc:sldMk cId="2303071161" sldId="3954"/>
        </pc:sldMkLst>
      </pc:sldChg>
      <pc:sldChg chg="del">
        <pc:chgData name="Isabelle LEBO" userId="S::ma4349@bpifrance.fr::f1c985e3-394e-48e8-9a67-d1528b48b78a" providerId="AD" clId="Web-{5D9D93C2-B251-4ADF-87D1-54189AFBFDE1}" dt="2023-03-12T17:09:41.659" v="16"/>
        <pc:sldMkLst>
          <pc:docMk/>
          <pc:sldMk cId="420111103" sldId="3955"/>
        </pc:sldMkLst>
      </pc:sldChg>
      <pc:sldChg chg="new del">
        <pc:chgData name="Isabelle LEBO" userId="S::ma4349@bpifrance.fr::f1c985e3-394e-48e8-9a67-d1528b48b78a" providerId="AD" clId="Web-{5D9D93C2-B251-4ADF-87D1-54189AFBFDE1}" dt="2023-03-12T17:10:00.426" v="19"/>
        <pc:sldMkLst>
          <pc:docMk/>
          <pc:sldMk cId="3137449706" sldId="3955"/>
        </pc:sldMkLst>
      </pc:sldChg>
      <pc:sldChg chg="addSp delSp modSp add replId">
        <pc:chgData name="Isabelle LEBO" userId="S::ma4349@bpifrance.fr::f1c985e3-394e-48e8-9a67-d1528b48b78a" providerId="AD" clId="Web-{5D9D93C2-B251-4ADF-87D1-54189AFBFDE1}" dt="2023-03-12T17:33:57.835" v="292" actId="14100"/>
        <pc:sldMkLst>
          <pc:docMk/>
          <pc:sldMk cId="4045257331" sldId="3955"/>
        </pc:sldMkLst>
        <pc:spChg chg="add del mod">
          <ac:chgData name="Isabelle LEBO" userId="S::ma4349@bpifrance.fr::f1c985e3-394e-48e8-9a67-d1528b48b78a" providerId="AD" clId="Web-{5D9D93C2-B251-4ADF-87D1-54189AFBFDE1}" dt="2023-03-12T17:21:25.760" v="110"/>
          <ac:spMkLst>
            <pc:docMk/>
            <pc:sldMk cId="4045257331" sldId="3955"/>
            <ac:spMk id="4" creationId="{4E520E22-0991-3BDB-210D-BA06D500EE55}"/>
          </ac:spMkLst>
        </pc:spChg>
        <pc:spChg chg="add mod">
          <ac:chgData name="Isabelle LEBO" userId="S::ma4349@bpifrance.fr::f1c985e3-394e-48e8-9a67-d1528b48b78a" providerId="AD" clId="Web-{5D9D93C2-B251-4ADF-87D1-54189AFBFDE1}" dt="2023-03-12T17:24:41.271" v="170" actId="20577"/>
          <ac:spMkLst>
            <pc:docMk/>
            <pc:sldMk cId="4045257331" sldId="3955"/>
            <ac:spMk id="11" creationId="{24265DF6-B698-9C9D-F017-73ED7789B825}"/>
          </ac:spMkLst>
        </pc:spChg>
        <pc:spChg chg="add mod">
          <ac:chgData name="Isabelle LEBO" userId="S::ma4349@bpifrance.fr::f1c985e3-394e-48e8-9a67-d1528b48b78a" providerId="AD" clId="Web-{5D9D93C2-B251-4ADF-87D1-54189AFBFDE1}" dt="2023-03-12T17:32:55.161" v="286" actId="20577"/>
          <ac:spMkLst>
            <pc:docMk/>
            <pc:sldMk cId="4045257331" sldId="3955"/>
            <ac:spMk id="12" creationId="{3B5A98CF-44D3-0251-1AA7-6B3743D2F487}"/>
          </ac:spMkLst>
        </pc:spChg>
        <pc:spChg chg="add mod">
          <ac:chgData name="Isabelle LEBO" userId="S::ma4349@bpifrance.fr::f1c985e3-394e-48e8-9a67-d1528b48b78a" providerId="AD" clId="Web-{5D9D93C2-B251-4ADF-87D1-54189AFBFDE1}" dt="2023-03-12T17:32:26.457" v="277" actId="1076"/>
          <ac:spMkLst>
            <pc:docMk/>
            <pc:sldMk cId="4045257331" sldId="3955"/>
            <ac:spMk id="13" creationId="{734D0D3C-7CC1-300C-A178-B55473758B4D}"/>
          </ac:spMkLst>
        </pc:spChg>
        <pc:spChg chg="add mod">
          <ac:chgData name="Isabelle LEBO" userId="S::ma4349@bpifrance.fr::f1c985e3-394e-48e8-9a67-d1528b48b78a" providerId="AD" clId="Web-{5D9D93C2-B251-4ADF-87D1-54189AFBFDE1}" dt="2023-03-12T17:31:29.268" v="274" actId="14100"/>
          <ac:spMkLst>
            <pc:docMk/>
            <pc:sldMk cId="4045257331" sldId="3955"/>
            <ac:spMk id="14" creationId="{66C867B7-CF39-6808-1F51-6ACB828C63EE}"/>
          </ac:spMkLst>
        </pc:spChg>
        <pc:picChg chg="add del mod">
          <ac:chgData name="Isabelle LEBO" userId="S::ma4349@bpifrance.fr::f1c985e3-394e-48e8-9a67-d1528b48b78a" providerId="AD" clId="Web-{5D9D93C2-B251-4ADF-87D1-54189AFBFDE1}" dt="2023-03-12T17:21:43.213" v="115"/>
          <ac:picMkLst>
            <pc:docMk/>
            <pc:sldMk cId="4045257331" sldId="3955"/>
            <ac:picMk id="5" creationId="{3450723E-8864-48FA-CC74-A1533A779F62}"/>
          </ac:picMkLst>
        </pc:picChg>
        <pc:picChg chg="del mod">
          <ac:chgData name="Isabelle LEBO" userId="S::ma4349@bpifrance.fr::f1c985e3-394e-48e8-9a67-d1528b48b78a" providerId="AD" clId="Web-{5D9D93C2-B251-4ADF-87D1-54189AFBFDE1}" dt="2023-03-12T17:21:28.760" v="111"/>
          <ac:picMkLst>
            <pc:docMk/>
            <pc:sldMk cId="4045257331" sldId="3955"/>
            <ac:picMk id="7" creationId="{9B8AED45-E688-FC95-99B3-82307A642202}"/>
          </ac:picMkLst>
        </pc:picChg>
        <pc:picChg chg="add del mod">
          <ac:chgData name="Isabelle LEBO" userId="S::ma4349@bpifrance.fr::f1c985e3-394e-48e8-9a67-d1528b48b78a" providerId="AD" clId="Web-{5D9D93C2-B251-4ADF-87D1-54189AFBFDE1}" dt="2023-03-12T17:21:40.682" v="114"/>
          <ac:picMkLst>
            <pc:docMk/>
            <pc:sldMk cId="4045257331" sldId="3955"/>
            <ac:picMk id="8" creationId="{9397CFF9-C24A-8915-94EB-75BC024D3029}"/>
          </ac:picMkLst>
        </pc:picChg>
        <pc:picChg chg="add del mod modCrop">
          <ac:chgData name="Isabelle LEBO" userId="S::ma4349@bpifrance.fr::f1c985e3-394e-48e8-9a67-d1528b48b78a" providerId="AD" clId="Web-{5D9D93C2-B251-4ADF-87D1-54189AFBFDE1}" dt="2023-03-12T17:33:47.366" v="289"/>
          <ac:picMkLst>
            <pc:docMk/>
            <pc:sldMk cId="4045257331" sldId="3955"/>
            <ac:picMk id="9" creationId="{2CFA6422-E2DB-62E5-F73B-6D1DCC699D77}"/>
          </ac:picMkLst>
        </pc:picChg>
        <pc:picChg chg="add mod">
          <ac:chgData name="Isabelle LEBO" userId="S::ma4349@bpifrance.fr::f1c985e3-394e-48e8-9a67-d1528b48b78a" providerId="AD" clId="Web-{5D9D93C2-B251-4ADF-87D1-54189AFBFDE1}" dt="2023-03-12T17:33:57.835" v="292" actId="14100"/>
          <ac:picMkLst>
            <pc:docMk/>
            <pc:sldMk cId="4045257331" sldId="3955"/>
            <ac:picMk id="15" creationId="{9B51CB49-7B6C-C1A1-B8B9-8800B979B1E3}"/>
          </ac:picMkLst>
        </pc:picChg>
      </pc:sldChg>
      <pc:sldChg chg="add del replId">
        <pc:chgData name="Isabelle LEBO" userId="S::ma4349@bpifrance.fr::f1c985e3-394e-48e8-9a67-d1528b48b78a" providerId="AD" clId="Web-{5D9D93C2-B251-4ADF-87D1-54189AFBFDE1}" dt="2023-03-12T17:19:29.365" v="105"/>
        <pc:sldMkLst>
          <pc:docMk/>
          <pc:sldMk cId="655859787" sldId="3956"/>
        </pc:sldMkLst>
      </pc:sldChg>
    </pc:docChg>
  </pc:docChgLst>
  <pc:docChgLst>
    <pc:chgData name="Isabelle LEBO" userId="S::ma4349@bpifrance.fr::f1c985e3-394e-48e8-9a67-d1528b48b78a" providerId="AD" clId="Web-{F7C54D5B-CE44-4FF0-8F07-B0CAE6B2358E}"/>
    <pc:docChg chg="addSld delSld modSld">
      <pc:chgData name="Isabelle LEBO" userId="S::ma4349@bpifrance.fr::f1c985e3-394e-48e8-9a67-d1528b48b78a" providerId="AD" clId="Web-{F7C54D5B-CE44-4FF0-8F07-B0CAE6B2358E}" dt="2023-03-03T11:36:10.323" v="280"/>
      <pc:docMkLst>
        <pc:docMk/>
      </pc:docMkLst>
      <pc:sldChg chg="addSp delSp modSp">
        <pc:chgData name="Isabelle LEBO" userId="S::ma4349@bpifrance.fr::f1c985e3-394e-48e8-9a67-d1528b48b78a" providerId="AD" clId="Web-{F7C54D5B-CE44-4FF0-8F07-B0CAE6B2358E}" dt="2023-03-03T11:36:10.323" v="280"/>
        <pc:sldMkLst>
          <pc:docMk/>
          <pc:sldMk cId="0" sldId="273"/>
        </pc:sldMkLst>
        <pc:spChg chg="add mod">
          <ac:chgData name="Isabelle LEBO" userId="S::ma4349@bpifrance.fr::f1c985e3-394e-48e8-9a67-d1528b48b78a" providerId="AD" clId="Web-{F7C54D5B-CE44-4FF0-8F07-B0CAE6B2358E}" dt="2023-03-03T11:35:53.025" v="278" actId="14100"/>
          <ac:spMkLst>
            <pc:docMk/>
            <pc:sldMk cId="0" sldId="273"/>
            <ac:spMk id="2" creationId="{44E12C0D-C7D9-FAC2-D439-F671AA53170B}"/>
          </ac:spMkLst>
        </pc:spChg>
        <pc:spChg chg="add mod">
          <ac:chgData name="Isabelle LEBO" userId="S::ma4349@bpifrance.fr::f1c985e3-394e-48e8-9a67-d1528b48b78a" providerId="AD" clId="Web-{F7C54D5B-CE44-4FF0-8F07-B0CAE6B2358E}" dt="2023-03-03T11:33:25.506" v="227" actId="1076"/>
          <ac:spMkLst>
            <pc:docMk/>
            <pc:sldMk cId="0" sldId="273"/>
            <ac:spMk id="5" creationId="{065320DF-EB30-B59E-CE23-50BB0DBBCF75}"/>
          </ac:spMkLst>
        </pc:spChg>
        <pc:spChg chg="add mod">
          <ac:chgData name="Isabelle LEBO" userId="S::ma4349@bpifrance.fr::f1c985e3-394e-48e8-9a67-d1528b48b78a" providerId="AD" clId="Web-{F7C54D5B-CE44-4FF0-8F07-B0CAE6B2358E}" dt="2023-03-03T11:32:44.489" v="224" actId="20577"/>
          <ac:spMkLst>
            <pc:docMk/>
            <pc:sldMk cId="0" sldId="273"/>
            <ac:spMk id="7" creationId="{0B8905A2-3C5E-1921-A8A2-9AC1921B6E2F}"/>
          </ac:spMkLst>
        </pc:spChg>
        <pc:spChg chg="add mod">
          <ac:chgData name="Isabelle LEBO" userId="S::ma4349@bpifrance.fr::f1c985e3-394e-48e8-9a67-d1528b48b78a" providerId="AD" clId="Web-{F7C54D5B-CE44-4FF0-8F07-B0CAE6B2358E}" dt="2023-03-03T11:35:27.931" v="275" actId="1076"/>
          <ac:spMkLst>
            <pc:docMk/>
            <pc:sldMk cId="0" sldId="273"/>
            <ac:spMk id="9" creationId="{F3A78354-5A69-8D33-7AAA-7C876336C394}"/>
          </ac:spMkLst>
        </pc:spChg>
        <pc:spChg chg="add mod">
          <ac:chgData name="Isabelle LEBO" userId="S::ma4349@bpifrance.fr::f1c985e3-394e-48e8-9a67-d1528b48b78a" providerId="AD" clId="Web-{F7C54D5B-CE44-4FF0-8F07-B0CAE6B2358E}" dt="2023-03-03T11:35:22.728" v="274" actId="1076"/>
          <ac:spMkLst>
            <pc:docMk/>
            <pc:sldMk cId="0" sldId="273"/>
            <ac:spMk id="11" creationId="{5A17E508-2F90-DF39-17AC-8BD12CA5F226}"/>
          </ac:spMkLst>
        </pc:spChg>
        <pc:spChg chg="mod">
          <ac:chgData name="Isabelle LEBO" userId="S::ma4349@bpifrance.fr::f1c985e3-394e-48e8-9a67-d1528b48b78a" providerId="AD" clId="Web-{F7C54D5B-CE44-4FF0-8F07-B0CAE6B2358E}" dt="2023-03-03T11:36:10.323" v="280"/>
          <ac:spMkLst>
            <pc:docMk/>
            <pc:sldMk cId="0" sldId="273"/>
            <ac:spMk id="65" creationId="{BAC28798-D3F3-1F22-4EFB-EC2821F5ABA0}"/>
          </ac:spMkLst>
        </pc:spChg>
        <pc:spChg chg="mod">
          <ac:chgData name="Isabelle LEBO" userId="S::ma4349@bpifrance.fr::f1c985e3-394e-48e8-9a67-d1528b48b78a" providerId="AD" clId="Web-{F7C54D5B-CE44-4FF0-8F07-B0CAE6B2358E}" dt="2023-03-03T11:30:23.173" v="202" actId="1076"/>
          <ac:spMkLst>
            <pc:docMk/>
            <pc:sldMk cId="0" sldId="273"/>
            <ac:spMk id="67" creationId="{154FF599-2FEF-4AE4-8F51-F27D8BD6D768}"/>
          </ac:spMkLst>
        </pc:spChg>
        <pc:picChg chg="del mod">
          <ac:chgData name="Isabelle LEBO" userId="S::ma4349@bpifrance.fr::f1c985e3-394e-48e8-9a67-d1528b48b78a" providerId="AD" clId="Web-{F7C54D5B-CE44-4FF0-8F07-B0CAE6B2358E}" dt="2023-03-03T11:31:43.863" v="214"/>
          <ac:picMkLst>
            <pc:docMk/>
            <pc:sldMk cId="0" sldId="273"/>
            <ac:picMk id="3" creationId="{E2399F24-54C8-44D1-1C47-93C3D59DF46F}"/>
          </ac:picMkLst>
        </pc:picChg>
        <pc:picChg chg="mod">
          <ac:chgData name="Isabelle LEBO" userId="S::ma4349@bpifrance.fr::f1c985e3-394e-48e8-9a67-d1528b48b78a" providerId="AD" clId="Web-{F7C54D5B-CE44-4FF0-8F07-B0CAE6B2358E}" dt="2023-03-03T11:35:55.885" v="279" actId="1076"/>
          <ac:picMkLst>
            <pc:docMk/>
            <pc:sldMk cId="0" sldId="273"/>
            <ac:picMk id="77" creationId="{58E92E54-3786-9ED1-5D39-38D79413B58E}"/>
          </ac:picMkLst>
        </pc:picChg>
      </pc:sldChg>
      <pc:sldChg chg="delSp del">
        <pc:chgData name="Isabelle LEBO" userId="S::ma4349@bpifrance.fr::f1c985e3-394e-48e8-9a67-d1528b48b78a" providerId="AD" clId="Web-{F7C54D5B-CE44-4FF0-8F07-B0CAE6B2358E}" dt="2023-03-03T11:25:28.025" v="149"/>
        <pc:sldMkLst>
          <pc:docMk/>
          <pc:sldMk cId="3975832059" sldId="352"/>
        </pc:sldMkLst>
        <pc:picChg chg="del">
          <ac:chgData name="Isabelle LEBO" userId="S::ma4349@bpifrance.fr::f1c985e3-394e-48e8-9a67-d1528b48b78a" providerId="AD" clId="Web-{F7C54D5B-CE44-4FF0-8F07-B0CAE6B2358E}" dt="2023-03-03T11:25:25.385" v="148"/>
          <ac:picMkLst>
            <pc:docMk/>
            <pc:sldMk cId="3975832059" sldId="352"/>
            <ac:picMk id="2" creationId="{47C71EFB-E216-55AA-C8C5-1C649A782D81}"/>
          </ac:picMkLst>
        </pc:picChg>
      </pc:sldChg>
      <pc:sldChg chg="modSp">
        <pc:chgData name="Isabelle LEBO" userId="S::ma4349@bpifrance.fr::f1c985e3-394e-48e8-9a67-d1528b48b78a" providerId="AD" clId="Web-{F7C54D5B-CE44-4FF0-8F07-B0CAE6B2358E}" dt="2023-03-03T11:11:18.895" v="15" actId="20577"/>
        <pc:sldMkLst>
          <pc:docMk/>
          <pc:sldMk cId="274459055" sldId="356"/>
        </pc:sldMkLst>
        <pc:spChg chg="mod">
          <ac:chgData name="Isabelle LEBO" userId="S::ma4349@bpifrance.fr::f1c985e3-394e-48e8-9a67-d1528b48b78a" providerId="AD" clId="Web-{F7C54D5B-CE44-4FF0-8F07-B0CAE6B2358E}" dt="2023-03-03T11:11:18.895" v="15" actId="20577"/>
          <ac:spMkLst>
            <pc:docMk/>
            <pc:sldMk cId="274459055" sldId="356"/>
            <ac:spMk id="8" creationId="{004A3CD6-16C5-8F6A-ECC7-47EAEEC639E0}"/>
          </ac:spMkLst>
        </pc:spChg>
        <pc:spChg chg="mod">
          <ac:chgData name="Isabelle LEBO" userId="S::ma4349@bpifrance.fr::f1c985e3-394e-48e8-9a67-d1528b48b78a" providerId="AD" clId="Web-{F7C54D5B-CE44-4FF0-8F07-B0CAE6B2358E}" dt="2023-03-03T11:11:03.972" v="13" actId="20577"/>
          <ac:spMkLst>
            <pc:docMk/>
            <pc:sldMk cId="274459055" sldId="356"/>
            <ac:spMk id="9" creationId="{F044A8CF-CAD2-68C6-5DA2-BDF4002F5A67}"/>
          </ac:spMkLst>
        </pc:spChg>
      </pc:sldChg>
      <pc:sldChg chg="modSp">
        <pc:chgData name="Isabelle LEBO" userId="S::ma4349@bpifrance.fr::f1c985e3-394e-48e8-9a67-d1528b48b78a" providerId="AD" clId="Web-{F7C54D5B-CE44-4FF0-8F07-B0CAE6B2358E}" dt="2023-03-03T11:10:02.986" v="8"/>
        <pc:sldMkLst>
          <pc:docMk/>
          <pc:sldMk cId="2474840419" sldId="1587"/>
        </pc:sldMkLst>
        <pc:spChg chg="mod">
          <ac:chgData name="Isabelle LEBO" userId="S::ma4349@bpifrance.fr::f1c985e3-394e-48e8-9a67-d1528b48b78a" providerId="AD" clId="Web-{F7C54D5B-CE44-4FF0-8F07-B0CAE6B2358E}" dt="2023-03-03T11:10:02.986" v="8"/>
          <ac:spMkLst>
            <pc:docMk/>
            <pc:sldMk cId="2474840419" sldId="1587"/>
            <ac:spMk id="18" creationId="{98F6EBA2-3185-4569-AD47-9A2873048374}"/>
          </ac:spMkLst>
        </pc:spChg>
      </pc:sldChg>
      <pc:sldChg chg="modSp">
        <pc:chgData name="Isabelle LEBO" userId="S::ma4349@bpifrance.fr::f1c985e3-394e-48e8-9a67-d1528b48b78a" providerId="AD" clId="Web-{F7C54D5B-CE44-4FF0-8F07-B0CAE6B2358E}" dt="2023-03-03T11:10:43.909" v="10" actId="20577"/>
        <pc:sldMkLst>
          <pc:docMk/>
          <pc:sldMk cId="1394747852" sldId="1596"/>
        </pc:sldMkLst>
        <pc:spChg chg="mod">
          <ac:chgData name="Isabelle LEBO" userId="S::ma4349@bpifrance.fr::f1c985e3-394e-48e8-9a67-d1528b48b78a" providerId="AD" clId="Web-{F7C54D5B-CE44-4FF0-8F07-B0CAE6B2358E}" dt="2023-03-03T11:10:43.909" v="10" actId="20577"/>
          <ac:spMkLst>
            <pc:docMk/>
            <pc:sldMk cId="1394747852" sldId="1596"/>
            <ac:spMk id="20" creationId="{2B43D454-3182-4F6A-BA91-0EC985FB038B}"/>
          </ac:spMkLst>
        </pc:spChg>
      </pc:sldChg>
      <pc:sldChg chg="modSp add del">
        <pc:chgData name="Isabelle LEBO" userId="S::ma4349@bpifrance.fr::f1c985e3-394e-48e8-9a67-d1528b48b78a" providerId="AD" clId="Web-{F7C54D5B-CE44-4FF0-8F07-B0CAE6B2358E}" dt="2023-03-03T11:35:33.697" v="276"/>
        <pc:sldMkLst>
          <pc:docMk/>
          <pc:sldMk cId="1576789958" sldId="3942"/>
        </pc:sldMkLst>
        <pc:spChg chg="mod">
          <ac:chgData name="Isabelle LEBO" userId="S::ma4349@bpifrance.fr::f1c985e3-394e-48e8-9a67-d1528b48b78a" providerId="AD" clId="Web-{F7C54D5B-CE44-4FF0-8F07-B0CAE6B2358E}" dt="2023-03-03T11:31:55.910" v="217" actId="1076"/>
          <ac:spMkLst>
            <pc:docMk/>
            <pc:sldMk cId="1576789958" sldId="3942"/>
            <ac:spMk id="5" creationId="{FAE00E48-DD8F-A729-E38D-6FEC82192EB3}"/>
          </ac:spMkLst>
        </pc:spChg>
      </pc:sldChg>
      <pc:sldChg chg="addSp delSp modSp">
        <pc:chgData name="Isabelle LEBO" userId="S::ma4349@bpifrance.fr::f1c985e3-394e-48e8-9a67-d1528b48b78a" providerId="AD" clId="Web-{F7C54D5B-CE44-4FF0-8F07-B0CAE6B2358E}" dt="2023-03-03T11:29:22.859" v="185" actId="1076"/>
        <pc:sldMkLst>
          <pc:docMk/>
          <pc:sldMk cId="596822363" sldId="3943"/>
        </pc:sldMkLst>
        <pc:spChg chg="mod">
          <ac:chgData name="Isabelle LEBO" userId="S::ma4349@bpifrance.fr::f1c985e3-394e-48e8-9a67-d1528b48b78a" providerId="AD" clId="Web-{F7C54D5B-CE44-4FF0-8F07-B0CAE6B2358E}" dt="2023-03-03T11:29:22.812" v="184" actId="1076"/>
          <ac:spMkLst>
            <pc:docMk/>
            <pc:sldMk cId="596822363" sldId="3943"/>
            <ac:spMk id="5" creationId="{4AB8920A-1B90-AE1D-7E56-EBA35AF44822}"/>
          </ac:spMkLst>
        </pc:spChg>
        <pc:spChg chg="mod">
          <ac:chgData name="Isabelle LEBO" userId="S::ma4349@bpifrance.fr::f1c985e3-394e-48e8-9a67-d1528b48b78a" providerId="AD" clId="Web-{F7C54D5B-CE44-4FF0-8F07-B0CAE6B2358E}" dt="2023-03-03T11:29:22.766" v="183" actId="1076"/>
          <ac:spMkLst>
            <pc:docMk/>
            <pc:sldMk cId="596822363" sldId="3943"/>
            <ac:spMk id="7" creationId="{8E513475-71FD-DD39-6F7D-C0BB12721F0A}"/>
          </ac:spMkLst>
        </pc:spChg>
        <pc:spChg chg="mod">
          <ac:chgData name="Isabelle LEBO" userId="S::ma4349@bpifrance.fr::f1c985e3-394e-48e8-9a67-d1528b48b78a" providerId="AD" clId="Web-{F7C54D5B-CE44-4FF0-8F07-B0CAE6B2358E}" dt="2023-03-03T11:22:19.458" v="101" actId="20577"/>
          <ac:spMkLst>
            <pc:docMk/>
            <pc:sldMk cId="596822363" sldId="3943"/>
            <ac:spMk id="8" creationId="{8BCF9B2B-8B02-F23A-A156-0735256D910D}"/>
          </ac:spMkLst>
        </pc:spChg>
        <pc:spChg chg="mod">
          <ac:chgData name="Isabelle LEBO" userId="S::ma4349@bpifrance.fr::f1c985e3-394e-48e8-9a67-d1528b48b78a" providerId="AD" clId="Web-{F7C54D5B-CE44-4FF0-8F07-B0CAE6B2358E}" dt="2023-03-03T11:29:22.859" v="185" actId="1076"/>
          <ac:spMkLst>
            <pc:docMk/>
            <pc:sldMk cId="596822363" sldId="3943"/>
            <ac:spMk id="10" creationId="{1720A44C-B821-1537-473D-DF372D1A6E97}"/>
          </ac:spMkLst>
        </pc:spChg>
        <pc:spChg chg="add mod">
          <ac:chgData name="Isabelle LEBO" userId="S::ma4349@bpifrance.fr::f1c985e3-394e-48e8-9a67-d1528b48b78a" providerId="AD" clId="Web-{F7C54D5B-CE44-4FF0-8F07-B0CAE6B2358E}" dt="2023-03-03T11:27:13.434" v="160" actId="1076"/>
          <ac:spMkLst>
            <pc:docMk/>
            <pc:sldMk cId="596822363" sldId="3943"/>
            <ac:spMk id="12" creationId="{089CAE47-BA17-A79C-A659-240AB2C396ED}"/>
          </ac:spMkLst>
        </pc:spChg>
        <pc:spChg chg="add mod">
          <ac:chgData name="Isabelle LEBO" userId="S::ma4349@bpifrance.fr::f1c985e3-394e-48e8-9a67-d1528b48b78a" providerId="AD" clId="Web-{F7C54D5B-CE44-4FF0-8F07-B0CAE6B2358E}" dt="2023-03-03T11:27:19.028" v="161"/>
          <ac:spMkLst>
            <pc:docMk/>
            <pc:sldMk cId="596822363" sldId="3943"/>
            <ac:spMk id="14" creationId="{969A90C8-C1BB-234C-4413-C5275D17F6E9}"/>
          </ac:spMkLst>
        </pc:spChg>
        <pc:picChg chg="del mod">
          <ac:chgData name="Isabelle LEBO" userId="S::ma4349@bpifrance.fr::f1c985e3-394e-48e8-9a67-d1528b48b78a" providerId="AD" clId="Web-{F7C54D5B-CE44-4FF0-8F07-B0CAE6B2358E}" dt="2023-03-03T11:21:40.113" v="90"/>
          <ac:picMkLst>
            <pc:docMk/>
            <pc:sldMk cId="596822363" sldId="3943"/>
            <ac:picMk id="9" creationId="{56636CE7-23A5-44E9-0635-416E74EA5F6E}"/>
          </ac:picMkLst>
        </pc:picChg>
        <pc:picChg chg="add mod ord">
          <ac:chgData name="Isabelle LEBO" userId="S::ma4349@bpifrance.fr::f1c985e3-394e-48e8-9a67-d1528b48b78a" providerId="AD" clId="Web-{F7C54D5B-CE44-4FF0-8F07-B0CAE6B2358E}" dt="2023-03-03T11:27:25.059" v="162" actId="1076"/>
          <ac:picMkLst>
            <pc:docMk/>
            <pc:sldMk cId="596822363" sldId="3943"/>
            <ac:picMk id="15" creationId="{5E07F5C5-177A-57C3-902C-75B7BAADC75E}"/>
          </ac:picMkLst>
        </pc:picChg>
      </pc:sldChg>
    </pc:docChg>
  </pc:docChgLst>
  <pc:docChgLst>
    <pc:chgData name="Isabelle LEBO" userId="S::ma4349@bpifrance.fr::f1c985e3-394e-48e8-9a67-d1528b48b78a" providerId="AD" clId="Web-{E2EE72ED-C582-424B-8BDC-5A81EDB708E3}"/>
    <pc:docChg chg="addSld modSld">
      <pc:chgData name="Isabelle LEBO" userId="S::ma4349@bpifrance.fr::f1c985e3-394e-48e8-9a67-d1528b48b78a" providerId="AD" clId="Web-{E2EE72ED-C582-424B-8BDC-5A81EDB708E3}" dt="2023-03-12T12:28:38.700" v="63" actId="20577"/>
      <pc:docMkLst>
        <pc:docMk/>
      </pc:docMkLst>
      <pc:sldChg chg="modSp">
        <pc:chgData name="Isabelle LEBO" userId="S::ma4349@bpifrance.fr::f1c985e3-394e-48e8-9a67-d1528b48b78a" providerId="AD" clId="Web-{E2EE72ED-C582-424B-8BDC-5A81EDB708E3}" dt="2023-03-12T12:26:05.882" v="3" actId="20577"/>
        <pc:sldMkLst>
          <pc:docMk/>
          <pc:sldMk cId="3123742323" sldId="359"/>
        </pc:sldMkLst>
        <pc:spChg chg="mod">
          <ac:chgData name="Isabelle LEBO" userId="S::ma4349@bpifrance.fr::f1c985e3-394e-48e8-9a67-d1528b48b78a" providerId="AD" clId="Web-{E2EE72ED-C582-424B-8BDC-5A81EDB708E3}" dt="2023-03-12T12:26:05.882" v="3" actId="20577"/>
          <ac:spMkLst>
            <pc:docMk/>
            <pc:sldMk cId="3123742323" sldId="359"/>
            <ac:spMk id="12" creationId="{9C7726F7-CB10-4FFB-9C95-4CF7F14B681A}"/>
          </ac:spMkLst>
        </pc:spChg>
      </pc:sldChg>
      <pc:sldChg chg="modSp">
        <pc:chgData name="Isabelle LEBO" userId="S::ma4349@bpifrance.fr::f1c985e3-394e-48e8-9a67-d1528b48b78a" providerId="AD" clId="Web-{E2EE72ED-C582-424B-8BDC-5A81EDB708E3}" dt="2023-03-12T12:27:57.558" v="56" actId="14100"/>
        <pc:sldMkLst>
          <pc:docMk/>
          <pc:sldMk cId="596822363" sldId="3943"/>
        </pc:sldMkLst>
        <pc:spChg chg="mod">
          <ac:chgData name="Isabelle LEBO" userId="S::ma4349@bpifrance.fr::f1c985e3-394e-48e8-9a67-d1528b48b78a" providerId="AD" clId="Web-{E2EE72ED-C582-424B-8BDC-5A81EDB708E3}" dt="2023-03-12T12:27:51.386" v="54" actId="1076"/>
          <ac:spMkLst>
            <pc:docMk/>
            <pc:sldMk cId="596822363" sldId="3943"/>
            <ac:spMk id="4" creationId="{263FC635-0A05-D810-BC18-64A2ABDCD6D0}"/>
          </ac:spMkLst>
        </pc:spChg>
        <pc:picChg chg="mod">
          <ac:chgData name="Isabelle LEBO" userId="S::ma4349@bpifrance.fr::f1c985e3-394e-48e8-9a67-d1528b48b78a" providerId="AD" clId="Web-{E2EE72ED-C582-424B-8BDC-5A81EDB708E3}" dt="2023-03-12T12:27:57.558" v="56" actId="14100"/>
          <ac:picMkLst>
            <pc:docMk/>
            <pc:sldMk cId="596822363" sldId="3943"/>
            <ac:picMk id="15" creationId="{5E07F5C5-177A-57C3-902C-75B7BAADC75E}"/>
          </ac:picMkLst>
        </pc:picChg>
      </pc:sldChg>
      <pc:sldChg chg="modSp add">
        <pc:chgData name="Isabelle LEBO" userId="S::ma4349@bpifrance.fr::f1c985e3-394e-48e8-9a67-d1528b48b78a" providerId="AD" clId="Web-{E2EE72ED-C582-424B-8BDC-5A81EDB708E3}" dt="2023-03-12T12:28:38.700" v="63" actId="20577"/>
        <pc:sldMkLst>
          <pc:docMk/>
          <pc:sldMk cId="2997668331" sldId="3952"/>
        </pc:sldMkLst>
        <pc:spChg chg="mod">
          <ac:chgData name="Isabelle LEBO" userId="S::ma4349@bpifrance.fr::f1c985e3-394e-48e8-9a67-d1528b48b78a" providerId="AD" clId="Web-{E2EE72ED-C582-424B-8BDC-5A81EDB708E3}" dt="2023-03-12T12:28:38.700" v="63" actId="20577"/>
          <ac:spMkLst>
            <pc:docMk/>
            <pc:sldMk cId="2997668331" sldId="3952"/>
            <ac:spMk id="4" creationId="{04A56F63-D71A-4738-977A-8539B39DA7E1}"/>
          </ac:spMkLst>
        </pc:spChg>
        <pc:spChg chg="mod">
          <ac:chgData name="Isabelle LEBO" userId="S::ma4349@bpifrance.fr::f1c985e3-394e-48e8-9a67-d1528b48b78a" providerId="AD" clId="Web-{E2EE72ED-C582-424B-8BDC-5A81EDB708E3}" dt="2023-03-12T12:28:24.809" v="61" actId="20577"/>
          <ac:spMkLst>
            <pc:docMk/>
            <pc:sldMk cId="2997668331" sldId="3952"/>
            <ac:spMk id="7" creationId="{34241ECC-21EB-87D3-ADC1-503BC329C97D}"/>
          </ac:spMkLst>
        </pc:spChg>
      </pc:sldChg>
    </pc:docChg>
  </pc:docChgLst>
  <pc:docChgLst>
    <pc:chgData name="Isabelle LEBO" userId="f1c985e3-394e-48e8-9a67-d1528b48b78a" providerId="ADAL" clId="{D8C265B6-48C0-4DCB-8693-C44AF1BF226F}"/>
    <pc:docChg chg="undo custSel addSld delSld modSld sldOrd delMainMaster">
      <pc:chgData name="Isabelle LEBO" userId="f1c985e3-394e-48e8-9a67-d1528b48b78a" providerId="ADAL" clId="{D8C265B6-48C0-4DCB-8693-C44AF1BF226F}" dt="2023-03-03T08:58:15.067" v="2154" actId="207"/>
      <pc:docMkLst>
        <pc:docMk/>
      </pc:docMkLst>
      <pc:sldChg chg="addSp delSp modSp mod ord">
        <pc:chgData name="Isabelle LEBO" userId="f1c985e3-394e-48e8-9a67-d1528b48b78a" providerId="ADAL" clId="{D8C265B6-48C0-4DCB-8693-C44AF1BF226F}" dt="2023-03-03T08:35:11.204" v="2002" actId="14100"/>
        <pc:sldMkLst>
          <pc:docMk/>
          <pc:sldMk cId="0" sldId="273"/>
        </pc:sldMkLst>
        <pc:spChg chg="del">
          <ac:chgData name="Isabelle LEBO" userId="f1c985e3-394e-48e8-9a67-d1528b48b78a" providerId="ADAL" clId="{D8C265B6-48C0-4DCB-8693-C44AF1BF226F}" dt="2023-03-03T08:24:23.069" v="1895" actId="478"/>
          <ac:spMkLst>
            <pc:docMk/>
            <pc:sldMk cId="0" sldId="273"/>
            <ac:spMk id="11" creationId="{00000000-0000-0000-0000-000000000000}"/>
          </ac:spMkLst>
        </pc:spChg>
        <pc:spChg chg="del">
          <ac:chgData name="Isabelle LEBO" userId="f1c985e3-394e-48e8-9a67-d1528b48b78a" providerId="ADAL" clId="{D8C265B6-48C0-4DCB-8693-C44AF1BF226F}" dt="2023-03-03T08:24:23.069" v="1895" actId="478"/>
          <ac:spMkLst>
            <pc:docMk/>
            <pc:sldMk cId="0" sldId="273"/>
            <ac:spMk id="12" creationId="{00000000-0000-0000-0000-000000000000}"/>
          </ac:spMkLst>
        </pc:spChg>
        <pc:spChg chg="del">
          <ac:chgData name="Isabelle LEBO" userId="f1c985e3-394e-48e8-9a67-d1528b48b78a" providerId="ADAL" clId="{D8C265B6-48C0-4DCB-8693-C44AF1BF226F}" dt="2023-03-03T08:24:23.069" v="1895" actId="478"/>
          <ac:spMkLst>
            <pc:docMk/>
            <pc:sldMk cId="0" sldId="273"/>
            <ac:spMk id="13" creationId="{00000000-0000-0000-0000-000000000000}"/>
          </ac:spMkLst>
        </pc:spChg>
        <pc:spChg chg="del">
          <ac:chgData name="Isabelle LEBO" userId="f1c985e3-394e-48e8-9a67-d1528b48b78a" providerId="ADAL" clId="{D8C265B6-48C0-4DCB-8693-C44AF1BF226F}" dt="2023-03-03T08:24:23.069" v="1895" actId="478"/>
          <ac:spMkLst>
            <pc:docMk/>
            <pc:sldMk cId="0" sldId="273"/>
            <ac:spMk id="21" creationId="{00000000-0000-0000-0000-000000000000}"/>
          </ac:spMkLst>
        </pc:spChg>
        <pc:spChg chg="del">
          <ac:chgData name="Isabelle LEBO" userId="f1c985e3-394e-48e8-9a67-d1528b48b78a" providerId="ADAL" clId="{D8C265B6-48C0-4DCB-8693-C44AF1BF226F}" dt="2023-03-03T08:24:23.069" v="1895" actId="478"/>
          <ac:spMkLst>
            <pc:docMk/>
            <pc:sldMk cId="0" sldId="273"/>
            <ac:spMk id="22" creationId="{00000000-0000-0000-0000-000000000000}"/>
          </ac:spMkLst>
        </pc:spChg>
        <pc:spChg chg="del">
          <ac:chgData name="Isabelle LEBO" userId="f1c985e3-394e-48e8-9a67-d1528b48b78a" providerId="ADAL" clId="{D8C265B6-48C0-4DCB-8693-C44AF1BF226F}" dt="2023-03-03T08:24:23.069" v="1895" actId="478"/>
          <ac:spMkLst>
            <pc:docMk/>
            <pc:sldMk cId="0" sldId="273"/>
            <ac:spMk id="23" creationId="{00000000-0000-0000-0000-000000000000}"/>
          </ac:spMkLst>
        </pc:spChg>
        <pc:spChg chg="del">
          <ac:chgData name="Isabelle LEBO" userId="f1c985e3-394e-48e8-9a67-d1528b48b78a" providerId="ADAL" clId="{D8C265B6-48C0-4DCB-8693-C44AF1BF226F}" dt="2023-03-03T08:24:23.069" v="1895" actId="478"/>
          <ac:spMkLst>
            <pc:docMk/>
            <pc:sldMk cId="0" sldId="273"/>
            <ac:spMk id="24" creationId="{00000000-0000-0000-0000-000000000000}"/>
          </ac:spMkLst>
        </pc:spChg>
        <pc:spChg chg="del">
          <ac:chgData name="Isabelle LEBO" userId="f1c985e3-394e-48e8-9a67-d1528b48b78a" providerId="ADAL" clId="{D8C265B6-48C0-4DCB-8693-C44AF1BF226F}" dt="2023-03-03T08:24:23.069" v="1895" actId="478"/>
          <ac:spMkLst>
            <pc:docMk/>
            <pc:sldMk cId="0" sldId="273"/>
            <ac:spMk id="25" creationId="{00000000-0000-0000-0000-000000000000}"/>
          </ac:spMkLst>
        </pc:spChg>
        <pc:spChg chg="del">
          <ac:chgData name="Isabelle LEBO" userId="f1c985e3-394e-48e8-9a67-d1528b48b78a" providerId="ADAL" clId="{D8C265B6-48C0-4DCB-8693-C44AF1BF226F}" dt="2023-03-03T08:24:23.069" v="1895" actId="478"/>
          <ac:spMkLst>
            <pc:docMk/>
            <pc:sldMk cId="0" sldId="273"/>
            <ac:spMk id="26" creationId="{00000000-0000-0000-0000-000000000000}"/>
          </ac:spMkLst>
        </pc:spChg>
        <pc:spChg chg="del">
          <ac:chgData name="Isabelle LEBO" userId="f1c985e3-394e-48e8-9a67-d1528b48b78a" providerId="ADAL" clId="{D8C265B6-48C0-4DCB-8693-C44AF1BF226F}" dt="2023-03-03T08:24:23.069" v="1895" actId="478"/>
          <ac:spMkLst>
            <pc:docMk/>
            <pc:sldMk cId="0" sldId="273"/>
            <ac:spMk id="27" creationId="{00000000-0000-0000-0000-000000000000}"/>
          </ac:spMkLst>
        </pc:spChg>
        <pc:spChg chg="del">
          <ac:chgData name="Isabelle LEBO" userId="f1c985e3-394e-48e8-9a67-d1528b48b78a" providerId="ADAL" clId="{D8C265B6-48C0-4DCB-8693-C44AF1BF226F}" dt="2023-03-03T08:24:23.069" v="1895" actId="478"/>
          <ac:spMkLst>
            <pc:docMk/>
            <pc:sldMk cId="0" sldId="273"/>
            <ac:spMk id="28" creationId="{00000000-0000-0000-0000-000000000000}"/>
          </ac:spMkLst>
        </pc:spChg>
        <pc:spChg chg="del">
          <ac:chgData name="Isabelle LEBO" userId="f1c985e3-394e-48e8-9a67-d1528b48b78a" providerId="ADAL" clId="{D8C265B6-48C0-4DCB-8693-C44AF1BF226F}" dt="2023-03-03T08:24:23.069" v="1895" actId="478"/>
          <ac:spMkLst>
            <pc:docMk/>
            <pc:sldMk cId="0" sldId="273"/>
            <ac:spMk id="34" creationId="{00000000-0000-0000-0000-000000000000}"/>
          </ac:spMkLst>
        </pc:spChg>
        <pc:spChg chg="del">
          <ac:chgData name="Isabelle LEBO" userId="f1c985e3-394e-48e8-9a67-d1528b48b78a" providerId="ADAL" clId="{D8C265B6-48C0-4DCB-8693-C44AF1BF226F}" dt="2023-03-03T08:24:23.069" v="1895" actId="478"/>
          <ac:spMkLst>
            <pc:docMk/>
            <pc:sldMk cId="0" sldId="273"/>
            <ac:spMk id="35" creationId="{00000000-0000-0000-0000-000000000000}"/>
          </ac:spMkLst>
        </pc:spChg>
        <pc:spChg chg="del">
          <ac:chgData name="Isabelle LEBO" userId="f1c985e3-394e-48e8-9a67-d1528b48b78a" providerId="ADAL" clId="{D8C265B6-48C0-4DCB-8693-C44AF1BF226F}" dt="2023-03-03T08:15:08.068" v="1844" actId="478"/>
          <ac:spMkLst>
            <pc:docMk/>
            <pc:sldMk cId="0" sldId="273"/>
            <ac:spMk id="36" creationId="{00000000-0000-0000-0000-000000000000}"/>
          </ac:spMkLst>
        </pc:spChg>
        <pc:spChg chg="del">
          <ac:chgData name="Isabelle LEBO" userId="f1c985e3-394e-48e8-9a67-d1528b48b78a" providerId="ADAL" clId="{D8C265B6-48C0-4DCB-8693-C44AF1BF226F}" dt="2023-03-03T08:15:08.068" v="1844" actId="478"/>
          <ac:spMkLst>
            <pc:docMk/>
            <pc:sldMk cId="0" sldId="273"/>
            <ac:spMk id="37" creationId="{00000000-0000-0000-0000-000000000000}"/>
          </ac:spMkLst>
        </pc:spChg>
        <pc:spChg chg="del">
          <ac:chgData name="Isabelle LEBO" userId="f1c985e3-394e-48e8-9a67-d1528b48b78a" providerId="ADAL" clId="{D8C265B6-48C0-4DCB-8693-C44AF1BF226F}" dt="2023-03-03T08:15:08.068" v="1844" actId="478"/>
          <ac:spMkLst>
            <pc:docMk/>
            <pc:sldMk cId="0" sldId="273"/>
            <ac:spMk id="38" creationId="{00000000-0000-0000-0000-000000000000}"/>
          </ac:spMkLst>
        </pc:spChg>
        <pc:spChg chg="del">
          <ac:chgData name="Isabelle LEBO" userId="f1c985e3-394e-48e8-9a67-d1528b48b78a" providerId="ADAL" clId="{D8C265B6-48C0-4DCB-8693-C44AF1BF226F}" dt="2023-03-03T08:15:08.068" v="1844" actId="478"/>
          <ac:spMkLst>
            <pc:docMk/>
            <pc:sldMk cId="0" sldId="273"/>
            <ac:spMk id="39" creationId="{00000000-0000-0000-0000-000000000000}"/>
          </ac:spMkLst>
        </pc:spChg>
        <pc:spChg chg="del">
          <ac:chgData name="Isabelle LEBO" userId="f1c985e3-394e-48e8-9a67-d1528b48b78a" providerId="ADAL" clId="{D8C265B6-48C0-4DCB-8693-C44AF1BF226F}" dt="2023-03-03T08:15:08.068" v="1844" actId="478"/>
          <ac:spMkLst>
            <pc:docMk/>
            <pc:sldMk cId="0" sldId="273"/>
            <ac:spMk id="40" creationId="{00000000-0000-0000-0000-000000000000}"/>
          </ac:spMkLst>
        </pc:spChg>
        <pc:spChg chg="del">
          <ac:chgData name="Isabelle LEBO" userId="f1c985e3-394e-48e8-9a67-d1528b48b78a" providerId="ADAL" clId="{D8C265B6-48C0-4DCB-8693-C44AF1BF226F}" dt="2023-03-03T08:15:08.068" v="1844" actId="478"/>
          <ac:spMkLst>
            <pc:docMk/>
            <pc:sldMk cId="0" sldId="273"/>
            <ac:spMk id="41" creationId="{00000000-0000-0000-0000-000000000000}"/>
          </ac:spMkLst>
        </pc:spChg>
        <pc:spChg chg="del">
          <ac:chgData name="Isabelle LEBO" userId="f1c985e3-394e-48e8-9a67-d1528b48b78a" providerId="ADAL" clId="{D8C265B6-48C0-4DCB-8693-C44AF1BF226F}" dt="2023-03-03T08:15:08.068" v="1844" actId="478"/>
          <ac:spMkLst>
            <pc:docMk/>
            <pc:sldMk cId="0" sldId="273"/>
            <ac:spMk id="42" creationId="{00000000-0000-0000-0000-000000000000}"/>
          </ac:spMkLst>
        </pc:spChg>
        <pc:spChg chg="del">
          <ac:chgData name="Isabelle LEBO" userId="f1c985e3-394e-48e8-9a67-d1528b48b78a" providerId="ADAL" clId="{D8C265B6-48C0-4DCB-8693-C44AF1BF226F}" dt="2023-03-03T08:15:08.068" v="1844" actId="478"/>
          <ac:spMkLst>
            <pc:docMk/>
            <pc:sldMk cId="0" sldId="273"/>
            <ac:spMk id="43" creationId="{00000000-0000-0000-0000-000000000000}"/>
          </ac:spMkLst>
        </pc:spChg>
        <pc:spChg chg="del">
          <ac:chgData name="Isabelle LEBO" userId="f1c985e3-394e-48e8-9a67-d1528b48b78a" providerId="ADAL" clId="{D8C265B6-48C0-4DCB-8693-C44AF1BF226F}" dt="2023-03-03T08:15:08.068" v="1844" actId="478"/>
          <ac:spMkLst>
            <pc:docMk/>
            <pc:sldMk cId="0" sldId="273"/>
            <ac:spMk id="44" creationId="{00000000-0000-0000-0000-000000000000}"/>
          </ac:spMkLst>
        </pc:spChg>
        <pc:spChg chg="del">
          <ac:chgData name="Isabelle LEBO" userId="f1c985e3-394e-48e8-9a67-d1528b48b78a" providerId="ADAL" clId="{D8C265B6-48C0-4DCB-8693-C44AF1BF226F}" dt="2023-03-03T08:15:08.068" v="1844" actId="478"/>
          <ac:spMkLst>
            <pc:docMk/>
            <pc:sldMk cId="0" sldId="273"/>
            <ac:spMk id="45" creationId="{00000000-0000-0000-0000-000000000000}"/>
          </ac:spMkLst>
        </pc:spChg>
        <pc:spChg chg="del">
          <ac:chgData name="Isabelle LEBO" userId="f1c985e3-394e-48e8-9a67-d1528b48b78a" providerId="ADAL" clId="{D8C265B6-48C0-4DCB-8693-C44AF1BF226F}" dt="2023-03-03T08:15:08.068" v="1844" actId="478"/>
          <ac:spMkLst>
            <pc:docMk/>
            <pc:sldMk cId="0" sldId="273"/>
            <ac:spMk id="46" creationId="{00000000-0000-0000-0000-000000000000}"/>
          </ac:spMkLst>
        </pc:spChg>
        <pc:spChg chg="del">
          <ac:chgData name="Isabelle LEBO" userId="f1c985e3-394e-48e8-9a67-d1528b48b78a" providerId="ADAL" clId="{D8C265B6-48C0-4DCB-8693-C44AF1BF226F}" dt="2023-03-03T08:15:08.068" v="1844" actId="478"/>
          <ac:spMkLst>
            <pc:docMk/>
            <pc:sldMk cId="0" sldId="273"/>
            <ac:spMk id="47" creationId="{00000000-0000-0000-0000-000000000000}"/>
          </ac:spMkLst>
        </pc:spChg>
        <pc:spChg chg="del">
          <ac:chgData name="Isabelle LEBO" userId="f1c985e3-394e-48e8-9a67-d1528b48b78a" providerId="ADAL" clId="{D8C265B6-48C0-4DCB-8693-C44AF1BF226F}" dt="2023-03-03T08:15:08.068" v="1844" actId="478"/>
          <ac:spMkLst>
            <pc:docMk/>
            <pc:sldMk cId="0" sldId="273"/>
            <ac:spMk id="48" creationId="{00000000-0000-0000-0000-000000000000}"/>
          </ac:spMkLst>
        </pc:spChg>
        <pc:spChg chg="del">
          <ac:chgData name="Isabelle LEBO" userId="f1c985e3-394e-48e8-9a67-d1528b48b78a" providerId="ADAL" clId="{D8C265B6-48C0-4DCB-8693-C44AF1BF226F}" dt="2023-03-03T08:15:08.068" v="1844" actId="478"/>
          <ac:spMkLst>
            <pc:docMk/>
            <pc:sldMk cId="0" sldId="273"/>
            <ac:spMk id="49" creationId="{00000000-0000-0000-0000-000000000000}"/>
          </ac:spMkLst>
        </pc:spChg>
        <pc:spChg chg="del">
          <ac:chgData name="Isabelle LEBO" userId="f1c985e3-394e-48e8-9a67-d1528b48b78a" providerId="ADAL" clId="{D8C265B6-48C0-4DCB-8693-C44AF1BF226F}" dt="2023-03-03T08:15:08.068" v="1844" actId="478"/>
          <ac:spMkLst>
            <pc:docMk/>
            <pc:sldMk cId="0" sldId="273"/>
            <ac:spMk id="50" creationId="{00000000-0000-0000-0000-000000000000}"/>
          </ac:spMkLst>
        </pc:spChg>
        <pc:spChg chg="del">
          <ac:chgData name="Isabelle LEBO" userId="f1c985e3-394e-48e8-9a67-d1528b48b78a" providerId="ADAL" clId="{D8C265B6-48C0-4DCB-8693-C44AF1BF226F}" dt="2023-03-03T08:15:08.068" v="1844" actId="478"/>
          <ac:spMkLst>
            <pc:docMk/>
            <pc:sldMk cId="0" sldId="273"/>
            <ac:spMk id="51" creationId="{00000000-0000-0000-0000-000000000000}"/>
          </ac:spMkLst>
        </pc:spChg>
        <pc:spChg chg="del">
          <ac:chgData name="Isabelle LEBO" userId="f1c985e3-394e-48e8-9a67-d1528b48b78a" providerId="ADAL" clId="{D8C265B6-48C0-4DCB-8693-C44AF1BF226F}" dt="2023-03-03T08:15:08.068" v="1844" actId="478"/>
          <ac:spMkLst>
            <pc:docMk/>
            <pc:sldMk cId="0" sldId="273"/>
            <ac:spMk id="52" creationId="{00000000-0000-0000-0000-000000000000}"/>
          </ac:spMkLst>
        </pc:spChg>
        <pc:spChg chg="del">
          <ac:chgData name="Isabelle LEBO" userId="f1c985e3-394e-48e8-9a67-d1528b48b78a" providerId="ADAL" clId="{D8C265B6-48C0-4DCB-8693-C44AF1BF226F}" dt="2023-03-03T08:15:08.068" v="1844" actId="478"/>
          <ac:spMkLst>
            <pc:docMk/>
            <pc:sldMk cId="0" sldId="273"/>
            <ac:spMk id="53" creationId="{00000000-0000-0000-0000-000000000000}"/>
          </ac:spMkLst>
        </pc:spChg>
        <pc:spChg chg="del">
          <ac:chgData name="Isabelle LEBO" userId="f1c985e3-394e-48e8-9a67-d1528b48b78a" providerId="ADAL" clId="{D8C265B6-48C0-4DCB-8693-C44AF1BF226F}" dt="2023-03-03T08:15:08.068" v="1844" actId="478"/>
          <ac:spMkLst>
            <pc:docMk/>
            <pc:sldMk cId="0" sldId="273"/>
            <ac:spMk id="58" creationId="{00000000-0000-0000-0000-000000000000}"/>
          </ac:spMkLst>
        </pc:spChg>
        <pc:spChg chg="del">
          <ac:chgData name="Isabelle LEBO" userId="f1c985e3-394e-48e8-9a67-d1528b48b78a" providerId="ADAL" clId="{D8C265B6-48C0-4DCB-8693-C44AF1BF226F}" dt="2023-03-03T08:15:08.068" v="1844" actId="478"/>
          <ac:spMkLst>
            <pc:docMk/>
            <pc:sldMk cId="0" sldId="273"/>
            <ac:spMk id="62" creationId="{00000000-0000-0000-0000-000000000000}"/>
          </ac:spMkLst>
        </pc:spChg>
        <pc:spChg chg="del mod">
          <ac:chgData name="Isabelle LEBO" userId="f1c985e3-394e-48e8-9a67-d1528b48b78a" providerId="ADAL" clId="{D8C265B6-48C0-4DCB-8693-C44AF1BF226F}" dt="2023-03-03T08:15:12.640" v="1847" actId="478"/>
          <ac:spMkLst>
            <pc:docMk/>
            <pc:sldMk cId="0" sldId="273"/>
            <ac:spMk id="64" creationId="{00000000-0000-0000-0000-000000000000}"/>
          </ac:spMkLst>
        </pc:spChg>
        <pc:spChg chg="add mod">
          <ac:chgData name="Isabelle LEBO" userId="f1c985e3-394e-48e8-9a67-d1528b48b78a" providerId="ADAL" clId="{D8C265B6-48C0-4DCB-8693-C44AF1BF226F}" dt="2023-03-03T08:29:06.890" v="1952" actId="1076"/>
          <ac:spMkLst>
            <pc:docMk/>
            <pc:sldMk cId="0" sldId="273"/>
            <ac:spMk id="65" creationId="{BAC28798-D3F3-1F22-4EFB-EC2821F5ABA0}"/>
          </ac:spMkLst>
        </pc:spChg>
        <pc:spChg chg="add mod">
          <ac:chgData name="Isabelle LEBO" userId="f1c985e3-394e-48e8-9a67-d1528b48b78a" providerId="ADAL" clId="{D8C265B6-48C0-4DCB-8693-C44AF1BF226F}" dt="2023-03-03T08:35:03.332" v="2000" actId="1035"/>
          <ac:spMkLst>
            <pc:docMk/>
            <pc:sldMk cId="0" sldId="273"/>
            <ac:spMk id="67" creationId="{154FF599-2FEF-4AE4-8F51-F27D8BD6D768}"/>
          </ac:spMkLst>
        </pc:spChg>
        <pc:spChg chg="del">
          <ac:chgData name="Isabelle LEBO" userId="f1c985e3-394e-48e8-9a67-d1528b48b78a" providerId="ADAL" clId="{D8C265B6-48C0-4DCB-8693-C44AF1BF226F}" dt="2023-03-03T08:24:23.069" v="1895" actId="478"/>
          <ac:spMkLst>
            <pc:docMk/>
            <pc:sldMk cId="0" sldId="273"/>
            <ac:spMk id="127" creationId="{00000000-0000-0000-0000-000000000000}"/>
          </ac:spMkLst>
        </pc:spChg>
        <pc:spChg chg="del">
          <ac:chgData name="Isabelle LEBO" userId="f1c985e3-394e-48e8-9a67-d1528b48b78a" providerId="ADAL" clId="{D8C265B6-48C0-4DCB-8693-C44AF1BF226F}" dt="2023-03-03T08:15:08.068" v="1844" actId="478"/>
          <ac:spMkLst>
            <pc:docMk/>
            <pc:sldMk cId="0" sldId="273"/>
            <ac:spMk id="132" creationId="{00000000-0000-0000-0000-000000000000}"/>
          </ac:spMkLst>
        </pc:spChg>
        <pc:spChg chg="mod">
          <ac:chgData name="Isabelle LEBO" userId="f1c985e3-394e-48e8-9a67-d1528b48b78a" providerId="ADAL" clId="{D8C265B6-48C0-4DCB-8693-C44AF1BF226F}" dt="2023-03-03T08:15:53.904" v="1856" actId="207"/>
          <ac:spMkLst>
            <pc:docMk/>
            <pc:sldMk cId="0" sldId="273"/>
            <ac:spMk id="134" creationId="{00000000-0000-0000-0000-000000000000}"/>
          </ac:spMkLst>
        </pc:spChg>
        <pc:spChg chg="mod">
          <ac:chgData name="Isabelle LEBO" userId="f1c985e3-394e-48e8-9a67-d1528b48b78a" providerId="ADAL" clId="{D8C265B6-48C0-4DCB-8693-C44AF1BF226F}" dt="2023-03-03T08:15:53.904" v="1856" actId="207"/>
          <ac:spMkLst>
            <pc:docMk/>
            <pc:sldMk cId="0" sldId="273"/>
            <ac:spMk id="135" creationId="{00000000-0000-0000-0000-000000000000}"/>
          </ac:spMkLst>
        </pc:spChg>
        <pc:spChg chg="mod">
          <ac:chgData name="Isabelle LEBO" userId="f1c985e3-394e-48e8-9a67-d1528b48b78a" providerId="ADAL" clId="{D8C265B6-48C0-4DCB-8693-C44AF1BF226F}" dt="2023-03-03T08:15:53.904" v="1856" actId="207"/>
          <ac:spMkLst>
            <pc:docMk/>
            <pc:sldMk cId="0" sldId="273"/>
            <ac:spMk id="136" creationId="{00000000-0000-0000-0000-000000000000}"/>
          </ac:spMkLst>
        </pc:spChg>
        <pc:spChg chg="mod">
          <ac:chgData name="Isabelle LEBO" userId="f1c985e3-394e-48e8-9a67-d1528b48b78a" providerId="ADAL" clId="{D8C265B6-48C0-4DCB-8693-C44AF1BF226F}" dt="2023-03-03T08:29:13.930" v="1954" actId="1076"/>
          <ac:spMkLst>
            <pc:docMk/>
            <pc:sldMk cId="0" sldId="273"/>
            <ac:spMk id="137" creationId="{00000000-0000-0000-0000-000000000000}"/>
          </ac:spMkLst>
        </pc:spChg>
        <pc:spChg chg="del">
          <ac:chgData name="Isabelle LEBO" userId="f1c985e3-394e-48e8-9a67-d1528b48b78a" providerId="ADAL" clId="{D8C265B6-48C0-4DCB-8693-C44AF1BF226F}" dt="2023-03-03T08:15:08.068" v="1844" actId="478"/>
          <ac:spMkLst>
            <pc:docMk/>
            <pc:sldMk cId="0" sldId="273"/>
            <ac:spMk id="143" creationId="{00000000-0000-0000-0000-000000000000}"/>
          </ac:spMkLst>
        </pc:spChg>
        <pc:spChg chg="del">
          <ac:chgData name="Isabelle LEBO" userId="f1c985e3-394e-48e8-9a67-d1528b48b78a" providerId="ADAL" clId="{D8C265B6-48C0-4DCB-8693-C44AF1BF226F}" dt="2023-03-03T08:15:08.068" v="1844" actId="478"/>
          <ac:spMkLst>
            <pc:docMk/>
            <pc:sldMk cId="0" sldId="273"/>
            <ac:spMk id="144" creationId="{00000000-0000-0000-0000-000000000000}"/>
          </ac:spMkLst>
        </pc:spChg>
        <pc:spChg chg="del">
          <ac:chgData name="Isabelle LEBO" userId="f1c985e3-394e-48e8-9a67-d1528b48b78a" providerId="ADAL" clId="{D8C265B6-48C0-4DCB-8693-C44AF1BF226F}" dt="2023-03-03T08:24:23.069" v="1895" actId="478"/>
          <ac:spMkLst>
            <pc:docMk/>
            <pc:sldMk cId="0" sldId="273"/>
            <ac:spMk id="152" creationId="{00000000-0000-0000-0000-000000000000}"/>
          </ac:spMkLst>
        </pc:spChg>
        <pc:spChg chg="del">
          <ac:chgData name="Isabelle LEBO" userId="f1c985e3-394e-48e8-9a67-d1528b48b78a" providerId="ADAL" clId="{D8C265B6-48C0-4DCB-8693-C44AF1BF226F}" dt="2023-03-03T08:24:23.069" v="1895" actId="478"/>
          <ac:spMkLst>
            <pc:docMk/>
            <pc:sldMk cId="0" sldId="273"/>
            <ac:spMk id="153" creationId="{00000000-0000-0000-0000-000000000000}"/>
          </ac:spMkLst>
        </pc:spChg>
        <pc:spChg chg="del">
          <ac:chgData name="Isabelle LEBO" userId="f1c985e3-394e-48e8-9a67-d1528b48b78a" providerId="ADAL" clId="{D8C265B6-48C0-4DCB-8693-C44AF1BF226F}" dt="2023-03-03T08:16:09.803" v="1858" actId="478"/>
          <ac:spMkLst>
            <pc:docMk/>
            <pc:sldMk cId="0" sldId="273"/>
            <ac:spMk id="154" creationId="{00000000-0000-0000-0000-000000000000}"/>
          </ac:spMkLst>
        </pc:spChg>
        <pc:spChg chg="del">
          <ac:chgData name="Isabelle LEBO" userId="f1c985e3-394e-48e8-9a67-d1528b48b78a" providerId="ADAL" clId="{D8C265B6-48C0-4DCB-8693-C44AF1BF226F}" dt="2023-03-03T08:16:09.803" v="1858" actId="478"/>
          <ac:spMkLst>
            <pc:docMk/>
            <pc:sldMk cId="0" sldId="273"/>
            <ac:spMk id="155" creationId="{00000000-0000-0000-0000-000000000000}"/>
          </ac:spMkLst>
        </pc:spChg>
        <pc:spChg chg="del">
          <ac:chgData name="Isabelle LEBO" userId="f1c985e3-394e-48e8-9a67-d1528b48b78a" providerId="ADAL" clId="{D8C265B6-48C0-4DCB-8693-C44AF1BF226F}" dt="2023-03-03T08:24:23.069" v="1895" actId="478"/>
          <ac:spMkLst>
            <pc:docMk/>
            <pc:sldMk cId="0" sldId="273"/>
            <ac:spMk id="156" creationId="{00000000-0000-0000-0000-000000000000}"/>
          </ac:spMkLst>
        </pc:spChg>
        <pc:spChg chg="del">
          <ac:chgData name="Isabelle LEBO" userId="f1c985e3-394e-48e8-9a67-d1528b48b78a" providerId="ADAL" clId="{D8C265B6-48C0-4DCB-8693-C44AF1BF226F}" dt="2023-03-03T08:24:23.069" v="1895" actId="478"/>
          <ac:spMkLst>
            <pc:docMk/>
            <pc:sldMk cId="0" sldId="273"/>
            <ac:spMk id="157" creationId="{00000000-0000-0000-0000-000000000000}"/>
          </ac:spMkLst>
        </pc:spChg>
        <pc:spChg chg="del">
          <ac:chgData name="Isabelle LEBO" userId="f1c985e3-394e-48e8-9a67-d1528b48b78a" providerId="ADAL" clId="{D8C265B6-48C0-4DCB-8693-C44AF1BF226F}" dt="2023-03-03T08:24:23.069" v="1895" actId="478"/>
          <ac:spMkLst>
            <pc:docMk/>
            <pc:sldMk cId="0" sldId="273"/>
            <ac:spMk id="165" creationId="{00000000-0000-0000-0000-000000000000}"/>
          </ac:spMkLst>
        </pc:spChg>
        <pc:spChg chg="del">
          <ac:chgData name="Isabelle LEBO" userId="f1c985e3-394e-48e8-9a67-d1528b48b78a" providerId="ADAL" clId="{D8C265B6-48C0-4DCB-8693-C44AF1BF226F}" dt="2023-03-03T08:24:23.069" v="1895" actId="478"/>
          <ac:spMkLst>
            <pc:docMk/>
            <pc:sldMk cId="0" sldId="273"/>
            <ac:spMk id="166" creationId="{00000000-0000-0000-0000-000000000000}"/>
          </ac:spMkLst>
        </pc:spChg>
        <pc:spChg chg="del">
          <ac:chgData name="Isabelle LEBO" userId="f1c985e3-394e-48e8-9a67-d1528b48b78a" providerId="ADAL" clId="{D8C265B6-48C0-4DCB-8693-C44AF1BF226F}" dt="2023-03-03T08:15:04.740" v="1843" actId="478"/>
          <ac:spMkLst>
            <pc:docMk/>
            <pc:sldMk cId="0" sldId="273"/>
            <ac:spMk id="170" creationId="{666C9D89-FE9D-4E7A-B196-EC3A774B41CA}"/>
          </ac:spMkLst>
        </pc:spChg>
        <pc:spChg chg="del">
          <ac:chgData name="Isabelle LEBO" userId="f1c985e3-394e-48e8-9a67-d1528b48b78a" providerId="ADAL" clId="{D8C265B6-48C0-4DCB-8693-C44AF1BF226F}" dt="2023-03-03T08:15:08.068" v="1844" actId="478"/>
          <ac:spMkLst>
            <pc:docMk/>
            <pc:sldMk cId="0" sldId="273"/>
            <ac:spMk id="172" creationId="{34977970-C2AB-45EC-BC33-12DE131EBED5}"/>
          </ac:spMkLst>
        </pc:spChg>
        <pc:spChg chg="del">
          <ac:chgData name="Isabelle LEBO" userId="f1c985e3-394e-48e8-9a67-d1528b48b78a" providerId="ADAL" clId="{D8C265B6-48C0-4DCB-8693-C44AF1BF226F}" dt="2023-03-03T08:15:08.068" v="1844" actId="478"/>
          <ac:spMkLst>
            <pc:docMk/>
            <pc:sldMk cId="0" sldId="273"/>
            <ac:spMk id="173" creationId="{6874C470-838C-4C02-873C-CCFA3F2460A5}"/>
          </ac:spMkLst>
        </pc:spChg>
        <pc:spChg chg="del">
          <ac:chgData name="Isabelle LEBO" userId="f1c985e3-394e-48e8-9a67-d1528b48b78a" providerId="ADAL" clId="{D8C265B6-48C0-4DCB-8693-C44AF1BF226F}" dt="2023-03-03T08:15:08.068" v="1844" actId="478"/>
          <ac:spMkLst>
            <pc:docMk/>
            <pc:sldMk cId="0" sldId="273"/>
            <ac:spMk id="174" creationId="{F4F21746-B322-439D-9405-3179DEEDA093}"/>
          </ac:spMkLst>
        </pc:spChg>
        <pc:spChg chg="del">
          <ac:chgData name="Isabelle LEBO" userId="f1c985e3-394e-48e8-9a67-d1528b48b78a" providerId="ADAL" clId="{D8C265B6-48C0-4DCB-8693-C44AF1BF226F}" dt="2023-03-03T08:16:29.700" v="1863" actId="478"/>
          <ac:spMkLst>
            <pc:docMk/>
            <pc:sldMk cId="0" sldId="273"/>
            <ac:spMk id="178" creationId="{F353B96C-CF50-4102-A541-D79C0EEBBB15}"/>
          </ac:spMkLst>
        </pc:spChg>
        <pc:spChg chg="del">
          <ac:chgData name="Isabelle LEBO" userId="f1c985e3-394e-48e8-9a67-d1528b48b78a" providerId="ADAL" clId="{D8C265B6-48C0-4DCB-8693-C44AF1BF226F}" dt="2023-03-03T08:16:31.203" v="1864" actId="478"/>
          <ac:spMkLst>
            <pc:docMk/>
            <pc:sldMk cId="0" sldId="273"/>
            <ac:spMk id="179" creationId="{8BE252D1-14D6-4148-B54E-571BC758F1E7}"/>
          </ac:spMkLst>
        </pc:spChg>
        <pc:spChg chg="del mod">
          <ac:chgData name="Isabelle LEBO" userId="f1c985e3-394e-48e8-9a67-d1528b48b78a" providerId="ADAL" clId="{D8C265B6-48C0-4DCB-8693-C44AF1BF226F}" dt="2023-03-03T08:16:28.429" v="1862" actId="478"/>
          <ac:spMkLst>
            <pc:docMk/>
            <pc:sldMk cId="0" sldId="273"/>
            <ac:spMk id="180" creationId="{FA5C48F0-A6E6-43AB-AC8A-D18D24A8243C}"/>
          </ac:spMkLst>
        </pc:spChg>
        <pc:spChg chg="del mod">
          <ac:chgData name="Isabelle LEBO" userId="f1c985e3-394e-48e8-9a67-d1528b48b78a" providerId="ADAL" clId="{D8C265B6-48C0-4DCB-8693-C44AF1BF226F}" dt="2023-03-03T08:16:26.271" v="1860" actId="478"/>
          <ac:spMkLst>
            <pc:docMk/>
            <pc:sldMk cId="0" sldId="273"/>
            <ac:spMk id="181" creationId="{21E6CF7C-D3CD-4DF5-89CF-D6FA462782E5}"/>
          </ac:spMkLst>
        </pc:spChg>
        <pc:grpChg chg="del">
          <ac:chgData name="Isabelle LEBO" userId="f1c985e3-394e-48e8-9a67-d1528b48b78a" providerId="ADAL" clId="{D8C265B6-48C0-4DCB-8693-C44AF1BF226F}" dt="2023-03-03T08:24:23.069" v="1895" actId="478"/>
          <ac:grpSpMkLst>
            <pc:docMk/>
            <pc:sldMk cId="0" sldId="273"/>
            <ac:grpSpMk id="5" creationId="{00000000-0000-0000-0000-000000000000}"/>
          </ac:grpSpMkLst>
        </pc:grpChg>
        <pc:grpChg chg="del">
          <ac:chgData name="Isabelle LEBO" userId="f1c985e3-394e-48e8-9a67-d1528b48b78a" providerId="ADAL" clId="{D8C265B6-48C0-4DCB-8693-C44AF1BF226F}" dt="2023-03-03T08:24:23.069" v="1895" actId="478"/>
          <ac:grpSpMkLst>
            <pc:docMk/>
            <pc:sldMk cId="0" sldId="273"/>
            <ac:grpSpMk id="14" creationId="{00000000-0000-0000-0000-000000000000}"/>
          </ac:grpSpMkLst>
        </pc:grpChg>
        <pc:grpChg chg="del">
          <ac:chgData name="Isabelle LEBO" userId="f1c985e3-394e-48e8-9a67-d1528b48b78a" providerId="ADAL" clId="{D8C265B6-48C0-4DCB-8693-C44AF1BF226F}" dt="2023-03-03T08:24:23.069" v="1895" actId="478"/>
          <ac:grpSpMkLst>
            <pc:docMk/>
            <pc:sldMk cId="0" sldId="273"/>
            <ac:grpSpMk id="29" creationId="{00000000-0000-0000-0000-000000000000}"/>
          </ac:grpSpMkLst>
        </pc:grpChg>
        <pc:grpChg chg="del">
          <ac:chgData name="Isabelle LEBO" userId="f1c985e3-394e-48e8-9a67-d1528b48b78a" providerId="ADAL" clId="{D8C265B6-48C0-4DCB-8693-C44AF1BF226F}" dt="2023-03-03T08:15:08.068" v="1844" actId="478"/>
          <ac:grpSpMkLst>
            <pc:docMk/>
            <pc:sldMk cId="0" sldId="273"/>
            <ac:grpSpMk id="54" creationId="{00000000-0000-0000-0000-000000000000}"/>
          </ac:grpSpMkLst>
        </pc:grpChg>
        <pc:grpChg chg="del">
          <ac:chgData name="Isabelle LEBO" userId="f1c985e3-394e-48e8-9a67-d1528b48b78a" providerId="ADAL" clId="{D8C265B6-48C0-4DCB-8693-C44AF1BF226F}" dt="2023-03-03T08:15:08.068" v="1844" actId="478"/>
          <ac:grpSpMkLst>
            <pc:docMk/>
            <pc:sldMk cId="0" sldId="273"/>
            <ac:grpSpMk id="59" creationId="{00000000-0000-0000-0000-000000000000}"/>
          </ac:grpSpMkLst>
        </pc:grpChg>
        <pc:grpChg chg="del">
          <ac:chgData name="Isabelle LEBO" userId="f1c985e3-394e-48e8-9a67-d1528b48b78a" providerId="ADAL" clId="{D8C265B6-48C0-4DCB-8693-C44AF1BF226F}" dt="2023-03-03T08:15:03" v="1842" actId="478"/>
          <ac:grpSpMkLst>
            <pc:docMk/>
            <pc:sldMk cId="0" sldId="273"/>
            <ac:grpSpMk id="68" creationId="{00000000-0000-0000-0000-000000000000}"/>
          </ac:grpSpMkLst>
        </pc:grpChg>
        <pc:grpChg chg="del">
          <ac:chgData name="Isabelle LEBO" userId="f1c985e3-394e-48e8-9a67-d1528b48b78a" providerId="ADAL" clId="{D8C265B6-48C0-4DCB-8693-C44AF1BF226F}" dt="2023-03-03T08:16:09.803" v="1858" actId="478"/>
          <ac:grpSpMkLst>
            <pc:docMk/>
            <pc:sldMk cId="0" sldId="273"/>
            <ac:grpSpMk id="102" creationId="{00000000-0000-0000-0000-000000000000}"/>
          </ac:grpSpMkLst>
        </pc:grpChg>
        <pc:grpChg chg="del">
          <ac:chgData name="Isabelle LEBO" userId="f1c985e3-394e-48e8-9a67-d1528b48b78a" providerId="ADAL" clId="{D8C265B6-48C0-4DCB-8693-C44AF1BF226F}" dt="2023-03-03T08:16:09.803" v="1858" actId="478"/>
          <ac:grpSpMkLst>
            <pc:docMk/>
            <pc:sldMk cId="0" sldId="273"/>
            <ac:grpSpMk id="105" creationId="{00000000-0000-0000-0000-000000000000}"/>
          </ac:grpSpMkLst>
        </pc:grpChg>
        <pc:grpChg chg="del">
          <ac:chgData name="Isabelle LEBO" userId="f1c985e3-394e-48e8-9a67-d1528b48b78a" providerId="ADAL" clId="{D8C265B6-48C0-4DCB-8693-C44AF1BF226F}" dt="2023-03-03T08:16:09.803" v="1858" actId="478"/>
          <ac:grpSpMkLst>
            <pc:docMk/>
            <pc:sldMk cId="0" sldId="273"/>
            <ac:grpSpMk id="108" creationId="{00000000-0000-0000-0000-000000000000}"/>
          </ac:grpSpMkLst>
        </pc:grpChg>
        <pc:grpChg chg="del">
          <ac:chgData name="Isabelle LEBO" userId="f1c985e3-394e-48e8-9a67-d1528b48b78a" providerId="ADAL" clId="{D8C265B6-48C0-4DCB-8693-C44AF1BF226F}" dt="2023-03-03T08:16:09.803" v="1858" actId="478"/>
          <ac:grpSpMkLst>
            <pc:docMk/>
            <pc:sldMk cId="0" sldId="273"/>
            <ac:grpSpMk id="111" creationId="{00000000-0000-0000-0000-000000000000}"/>
          </ac:grpSpMkLst>
        </pc:grpChg>
        <pc:grpChg chg="del">
          <ac:chgData name="Isabelle LEBO" userId="f1c985e3-394e-48e8-9a67-d1528b48b78a" providerId="ADAL" clId="{D8C265B6-48C0-4DCB-8693-C44AF1BF226F}" dt="2023-03-03T08:16:09.803" v="1858" actId="478"/>
          <ac:grpSpMkLst>
            <pc:docMk/>
            <pc:sldMk cId="0" sldId="273"/>
            <ac:grpSpMk id="114" creationId="{00000000-0000-0000-0000-000000000000}"/>
          </ac:grpSpMkLst>
        </pc:grpChg>
        <pc:grpChg chg="del">
          <ac:chgData name="Isabelle LEBO" userId="f1c985e3-394e-48e8-9a67-d1528b48b78a" providerId="ADAL" clId="{D8C265B6-48C0-4DCB-8693-C44AF1BF226F}" dt="2023-03-03T08:16:09.803" v="1858" actId="478"/>
          <ac:grpSpMkLst>
            <pc:docMk/>
            <pc:sldMk cId="0" sldId="273"/>
            <ac:grpSpMk id="117" creationId="{00000000-0000-0000-0000-000000000000}"/>
          </ac:grpSpMkLst>
        </pc:grpChg>
        <pc:grpChg chg="del">
          <ac:chgData name="Isabelle LEBO" userId="f1c985e3-394e-48e8-9a67-d1528b48b78a" providerId="ADAL" clId="{D8C265B6-48C0-4DCB-8693-C44AF1BF226F}" dt="2023-03-03T08:16:09.803" v="1858" actId="478"/>
          <ac:grpSpMkLst>
            <pc:docMk/>
            <pc:sldMk cId="0" sldId="273"/>
            <ac:grpSpMk id="120" creationId="{00000000-0000-0000-0000-000000000000}"/>
          </ac:grpSpMkLst>
        </pc:grpChg>
        <pc:grpChg chg="del">
          <ac:chgData name="Isabelle LEBO" userId="f1c985e3-394e-48e8-9a67-d1528b48b78a" providerId="ADAL" clId="{D8C265B6-48C0-4DCB-8693-C44AF1BF226F}" dt="2023-03-03T08:16:09.803" v="1858" actId="478"/>
          <ac:grpSpMkLst>
            <pc:docMk/>
            <pc:sldMk cId="0" sldId="273"/>
            <ac:grpSpMk id="123" creationId="{00000000-0000-0000-0000-000000000000}"/>
          </ac:grpSpMkLst>
        </pc:grpChg>
        <pc:grpChg chg="del">
          <ac:chgData name="Isabelle LEBO" userId="f1c985e3-394e-48e8-9a67-d1528b48b78a" providerId="ADAL" clId="{D8C265B6-48C0-4DCB-8693-C44AF1BF226F}" dt="2023-03-03T08:15:09.834" v="1845" actId="478"/>
          <ac:grpSpMkLst>
            <pc:docMk/>
            <pc:sldMk cId="0" sldId="273"/>
            <ac:grpSpMk id="128" creationId="{00000000-0000-0000-0000-000000000000}"/>
          </ac:grpSpMkLst>
        </pc:grpChg>
        <pc:grpChg chg="mod">
          <ac:chgData name="Isabelle LEBO" userId="f1c985e3-394e-48e8-9a67-d1528b48b78a" providerId="ADAL" clId="{D8C265B6-48C0-4DCB-8693-C44AF1BF226F}" dt="2023-03-03T08:29:10.858" v="1953" actId="1076"/>
          <ac:grpSpMkLst>
            <pc:docMk/>
            <pc:sldMk cId="0" sldId="273"/>
            <ac:grpSpMk id="133" creationId="{00000000-0000-0000-0000-000000000000}"/>
          </ac:grpSpMkLst>
        </pc:grpChg>
        <pc:grpChg chg="del">
          <ac:chgData name="Isabelle LEBO" userId="f1c985e3-394e-48e8-9a67-d1528b48b78a" providerId="ADAL" clId="{D8C265B6-48C0-4DCB-8693-C44AF1BF226F}" dt="2023-03-03T08:15:13.541" v="1848" actId="478"/>
          <ac:grpSpMkLst>
            <pc:docMk/>
            <pc:sldMk cId="0" sldId="273"/>
            <ac:grpSpMk id="138" creationId="{00000000-0000-0000-0000-000000000000}"/>
          </ac:grpSpMkLst>
        </pc:grpChg>
        <pc:grpChg chg="del">
          <ac:chgData name="Isabelle LEBO" userId="f1c985e3-394e-48e8-9a67-d1528b48b78a" providerId="ADAL" clId="{D8C265B6-48C0-4DCB-8693-C44AF1BF226F}" dt="2023-03-03T08:15:08.068" v="1844" actId="478"/>
          <ac:grpSpMkLst>
            <pc:docMk/>
            <pc:sldMk cId="0" sldId="273"/>
            <ac:grpSpMk id="145" creationId="{00000000-0000-0000-0000-000000000000}"/>
          </ac:grpSpMkLst>
        </pc:grpChg>
        <pc:grpChg chg="del">
          <ac:chgData name="Isabelle LEBO" userId="f1c985e3-394e-48e8-9a67-d1528b48b78a" providerId="ADAL" clId="{D8C265B6-48C0-4DCB-8693-C44AF1BF226F}" dt="2023-03-03T08:24:23.069" v="1895" actId="478"/>
          <ac:grpSpMkLst>
            <pc:docMk/>
            <pc:sldMk cId="0" sldId="273"/>
            <ac:grpSpMk id="158" creationId="{00000000-0000-0000-0000-000000000000}"/>
          </ac:grpSpMkLst>
        </pc:grpChg>
        <pc:grpChg chg="del">
          <ac:chgData name="Isabelle LEBO" userId="f1c985e3-394e-48e8-9a67-d1528b48b78a" providerId="ADAL" clId="{D8C265B6-48C0-4DCB-8693-C44AF1BF226F}" dt="2023-03-03T08:24:23.069" v="1895" actId="478"/>
          <ac:grpSpMkLst>
            <pc:docMk/>
            <pc:sldMk cId="0" sldId="273"/>
            <ac:grpSpMk id="161" creationId="{00000000-0000-0000-0000-000000000000}"/>
          </ac:grpSpMkLst>
        </pc:grpChg>
        <pc:picChg chg="add mod modCrop">
          <ac:chgData name="Isabelle LEBO" userId="f1c985e3-394e-48e8-9a67-d1528b48b78a" providerId="ADAL" clId="{D8C265B6-48C0-4DCB-8693-C44AF1BF226F}" dt="2023-03-03T08:35:03.332" v="2000" actId="1035"/>
          <ac:picMkLst>
            <pc:docMk/>
            <pc:sldMk cId="0" sldId="273"/>
            <ac:picMk id="3" creationId="{E2399F24-54C8-44D1-1C47-93C3D59DF46F}"/>
          </ac:picMkLst>
        </pc:picChg>
        <pc:picChg chg="add mod">
          <ac:chgData name="Isabelle LEBO" userId="f1c985e3-394e-48e8-9a67-d1528b48b78a" providerId="ADAL" clId="{D8C265B6-48C0-4DCB-8693-C44AF1BF226F}" dt="2023-03-03T08:35:11.204" v="2002" actId="14100"/>
          <ac:picMkLst>
            <pc:docMk/>
            <pc:sldMk cId="0" sldId="273"/>
            <ac:picMk id="77" creationId="{58E92E54-3786-9ED1-5D39-38D79413B58E}"/>
          </ac:picMkLst>
        </pc:picChg>
      </pc:sldChg>
      <pc:sldChg chg="addSp delSp modSp mod modNotesTx">
        <pc:chgData name="Isabelle LEBO" userId="f1c985e3-394e-48e8-9a67-d1528b48b78a" providerId="ADAL" clId="{D8C265B6-48C0-4DCB-8693-C44AF1BF226F}" dt="2023-03-03T08:12:25.308" v="1816" actId="20577"/>
        <pc:sldMkLst>
          <pc:docMk/>
          <pc:sldMk cId="2978267047" sldId="299"/>
        </pc:sldMkLst>
        <pc:spChg chg="add del mod">
          <ac:chgData name="Isabelle LEBO" userId="f1c985e3-394e-48e8-9a67-d1528b48b78a" providerId="ADAL" clId="{D8C265B6-48C0-4DCB-8693-C44AF1BF226F}" dt="2023-02-28T13:21:26.706" v="1132" actId="478"/>
          <ac:spMkLst>
            <pc:docMk/>
            <pc:sldMk cId="2978267047" sldId="299"/>
            <ac:spMk id="2" creationId="{84A7A3F1-347E-CEF3-312F-02A96019F701}"/>
          </ac:spMkLst>
        </pc:spChg>
        <pc:spChg chg="add del mod">
          <ac:chgData name="Isabelle LEBO" userId="f1c985e3-394e-48e8-9a67-d1528b48b78a" providerId="ADAL" clId="{D8C265B6-48C0-4DCB-8693-C44AF1BF226F}" dt="2023-02-28T09:48:55.158" v="619" actId="21"/>
          <ac:spMkLst>
            <pc:docMk/>
            <pc:sldMk cId="2978267047" sldId="299"/>
            <ac:spMk id="3" creationId="{8CFFF058-2C51-A478-7C41-FDE6008517CA}"/>
          </ac:spMkLst>
        </pc:spChg>
        <pc:spChg chg="mod">
          <ac:chgData name="Isabelle LEBO" userId="f1c985e3-394e-48e8-9a67-d1528b48b78a" providerId="ADAL" clId="{D8C265B6-48C0-4DCB-8693-C44AF1BF226F}" dt="2023-03-03T08:12:25.308" v="1816" actId="20577"/>
          <ac:spMkLst>
            <pc:docMk/>
            <pc:sldMk cId="2978267047" sldId="299"/>
            <ac:spMk id="7" creationId="{00000000-0000-0000-0000-000000000000}"/>
          </ac:spMkLst>
        </pc:spChg>
      </pc:sldChg>
      <pc:sldChg chg="modSp mod">
        <pc:chgData name="Isabelle LEBO" userId="f1c985e3-394e-48e8-9a67-d1528b48b78a" providerId="ADAL" clId="{D8C265B6-48C0-4DCB-8693-C44AF1BF226F}" dt="2023-02-27T16:40:51.078" v="13" actId="1076"/>
        <pc:sldMkLst>
          <pc:docMk/>
          <pc:sldMk cId="462974486" sldId="337"/>
        </pc:sldMkLst>
        <pc:spChg chg="mod">
          <ac:chgData name="Isabelle LEBO" userId="f1c985e3-394e-48e8-9a67-d1528b48b78a" providerId="ADAL" clId="{D8C265B6-48C0-4DCB-8693-C44AF1BF226F}" dt="2023-02-27T16:40:51.078" v="13" actId="1076"/>
          <ac:spMkLst>
            <pc:docMk/>
            <pc:sldMk cId="462974486" sldId="337"/>
            <ac:spMk id="3" creationId="{00000000-0000-0000-0000-000000000000}"/>
          </ac:spMkLst>
        </pc:spChg>
      </pc:sldChg>
      <pc:sldChg chg="modSp mod">
        <pc:chgData name="Isabelle LEBO" userId="f1c985e3-394e-48e8-9a67-d1528b48b78a" providerId="ADAL" clId="{D8C265B6-48C0-4DCB-8693-C44AF1BF226F}" dt="2023-02-28T14:22:23.228" v="1552" actId="14100"/>
        <pc:sldMkLst>
          <pc:docMk/>
          <pc:sldMk cId="3610177564" sldId="340"/>
        </pc:sldMkLst>
        <pc:spChg chg="mod">
          <ac:chgData name="Isabelle LEBO" userId="f1c985e3-394e-48e8-9a67-d1528b48b78a" providerId="ADAL" clId="{D8C265B6-48C0-4DCB-8693-C44AF1BF226F}" dt="2023-02-28T14:22:23.228" v="1552" actId="14100"/>
          <ac:spMkLst>
            <pc:docMk/>
            <pc:sldMk cId="3610177564" sldId="340"/>
            <ac:spMk id="3" creationId="{00000000-0000-0000-0000-000000000000}"/>
          </ac:spMkLst>
        </pc:spChg>
      </pc:sldChg>
      <pc:sldChg chg="addSp delSp modSp mod">
        <pc:chgData name="Isabelle LEBO" userId="f1c985e3-394e-48e8-9a67-d1528b48b78a" providerId="ADAL" clId="{D8C265B6-48C0-4DCB-8693-C44AF1BF226F}" dt="2023-03-02T11:34:39.426" v="1568" actId="20577"/>
        <pc:sldMkLst>
          <pc:docMk/>
          <pc:sldMk cId="3619404808" sldId="342"/>
        </pc:sldMkLst>
        <pc:spChg chg="mod">
          <ac:chgData name="Isabelle LEBO" userId="f1c985e3-394e-48e8-9a67-d1528b48b78a" providerId="ADAL" clId="{D8C265B6-48C0-4DCB-8693-C44AF1BF226F}" dt="2023-03-02T11:34:39.426" v="1568" actId="20577"/>
          <ac:spMkLst>
            <pc:docMk/>
            <pc:sldMk cId="3619404808" sldId="342"/>
            <ac:spMk id="5" creationId="{00000000-0000-0000-0000-000000000000}"/>
          </ac:spMkLst>
        </pc:spChg>
        <pc:spChg chg="mod">
          <ac:chgData name="Isabelle LEBO" userId="f1c985e3-394e-48e8-9a67-d1528b48b78a" providerId="ADAL" clId="{D8C265B6-48C0-4DCB-8693-C44AF1BF226F}" dt="2023-02-28T09:55:16.422" v="664" actId="108"/>
          <ac:spMkLst>
            <pc:docMk/>
            <pc:sldMk cId="3619404808" sldId="342"/>
            <ac:spMk id="40" creationId="{D41C0E32-4592-4302-9AE4-D15CF2E393D4}"/>
          </ac:spMkLst>
        </pc:spChg>
        <pc:spChg chg="mod">
          <ac:chgData name="Isabelle LEBO" userId="f1c985e3-394e-48e8-9a67-d1528b48b78a" providerId="ADAL" clId="{D8C265B6-48C0-4DCB-8693-C44AF1BF226F}" dt="2023-02-27T17:15:19.422" v="230" actId="20577"/>
          <ac:spMkLst>
            <pc:docMk/>
            <pc:sldMk cId="3619404808" sldId="342"/>
            <ac:spMk id="41" creationId="{84852768-9FAC-4D08-ACC0-6E6121E75220}"/>
          </ac:spMkLst>
        </pc:spChg>
        <pc:spChg chg="add del mod">
          <ac:chgData name="Isabelle LEBO" userId="f1c985e3-394e-48e8-9a67-d1528b48b78a" providerId="ADAL" clId="{D8C265B6-48C0-4DCB-8693-C44AF1BF226F}" dt="2023-02-27T17:13:01.696" v="213" actId="20577"/>
          <ac:spMkLst>
            <pc:docMk/>
            <pc:sldMk cId="3619404808" sldId="342"/>
            <ac:spMk id="47" creationId="{C19366DE-C18F-4287-B1CE-982C20173B0A}"/>
          </ac:spMkLst>
        </pc:spChg>
      </pc:sldChg>
      <pc:sldChg chg="modSp mod">
        <pc:chgData name="Isabelle LEBO" userId="f1c985e3-394e-48e8-9a67-d1528b48b78a" providerId="ADAL" clId="{D8C265B6-48C0-4DCB-8693-C44AF1BF226F}" dt="2023-02-28T13:22:50.058" v="1157" actId="14100"/>
        <pc:sldMkLst>
          <pc:docMk/>
          <pc:sldMk cId="236547496" sldId="344"/>
        </pc:sldMkLst>
        <pc:spChg chg="mod">
          <ac:chgData name="Isabelle LEBO" userId="f1c985e3-394e-48e8-9a67-d1528b48b78a" providerId="ADAL" clId="{D8C265B6-48C0-4DCB-8693-C44AF1BF226F}" dt="2023-02-27T18:15:14.984" v="576" actId="1076"/>
          <ac:spMkLst>
            <pc:docMk/>
            <pc:sldMk cId="236547496" sldId="344"/>
            <ac:spMk id="5" creationId="{00000000-0000-0000-0000-000000000000}"/>
          </ac:spMkLst>
        </pc:spChg>
        <pc:spChg chg="mod">
          <ac:chgData name="Isabelle LEBO" userId="f1c985e3-394e-48e8-9a67-d1528b48b78a" providerId="ADAL" clId="{D8C265B6-48C0-4DCB-8693-C44AF1BF226F}" dt="2023-02-28T09:55:32.351" v="665" actId="20577"/>
          <ac:spMkLst>
            <pc:docMk/>
            <pc:sldMk cId="236547496" sldId="344"/>
            <ac:spMk id="41" creationId="{207D8032-F3CA-4137-B6FB-3C5CC1328D09}"/>
          </ac:spMkLst>
        </pc:spChg>
        <pc:spChg chg="mod">
          <ac:chgData name="Isabelle LEBO" userId="f1c985e3-394e-48e8-9a67-d1528b48b78a" providerId="ADAL" clId="{D8C265B6-48C0-4DCB-8693-C44AF1BF226F}" dt="2023-02-27T18:02:14.329" v="408" actId="20577"/>
          <ac:spMkLst>
            <pc:docMk/>
            <pc:sldMk cId="236547496" sldId="344"/>
            <ac:spMk id="42" creationId="{D0D72985-91E3-4189-AD8E-30B930D9BA1D}"/>
          </ac:spMkLst>
        </pc:spChg>
        <pc:spChg chg="mod">
          <ac:chgData name="Isabelle LEBO" userId="f1c985e3-394e-48e8-9a67-d1528b48b78a" providerId="ADAL" clId="{D8C265B6-48C0-4DCB-8693-C44AF1BF226F}" dt="2023-02-27T18:00:19.274" v="381" actId="20577"/>
          <ac:spMkLst>
            <pc:docMk/>
            <pc:sldMk cId="236547496" sldId="344"/>
            <ac:spMk id="46" creationId="{23A1F094-04DF-46EB-9541-F1F8B667C635}"/>
          </ac:spMkLst>
        </pc:spChg>
        <pc:spChg chg="mod">
          <ac:chgData name="Isabelle LEBO" userId="f1c985e3-394e-48e8-9a67-d1528b48b78a" providerId="ADAL" clId="{D8C265B6-48C0-4DCB-8693-C44AF1BF226F}" dt="2023-02-27T18:01:22.273" v="390" actId="20577"/>
          <ac:spMkLst>
            <pc:docMk/>
            <pc:sldMk cId="236547496" sldId="344"/>
            <ac:spMk id="47" creationId="{73621452-18FE-4EC1-8700-48F4B1EDAD5C}"/>
          </ac:spMkLst>
        </pc:spChg>
        <pc:spChg chg="mod">
          <ac:chgData name="Isabelle LEBO" userId="f1c985e3-394e-48e8-9a67-d1528b48b78a" providerId="ADAL" clId="{D8C265B6-48C0-4DCB-8693-C44AF1BF226F}" dt="2023-02-27T17:22:28.956" v="332" actId="20577"/>
          <ac:spMkLst>
            <pc:docMk/>
            <pc:sldMk cId="236547496" sldId="344"/>
            <ac:spMk id="49" creationId="{A72D7AF1-A81C-4B7D-B27C-FD3CAE6E29F4}"/>
          </ac:spMkLst>
        </pc:spChg>
        <pc:spChg chg="mod">
          <ac:chgData name="Isabelle LEBO" userId="f1c985e3-394e-48e8-9a67-d1528b48b78a" providerId="ADAL" clId="{D8C265B6-48C0-4DCB-8693-C44AF1BF226F}" dt="2023-02-27T18:08:25.951" v="454" actId="20577"/>
          <ac:spMkLst>
            <pc:docMk/>
            <pc:sldMk cId="236547496" sldId="344"/>
            <ac:spMk id="51" creationId="{02807587-F184-40DD-8A26-E2FD2CDFB4B6}"/>
          </ac:spMkLst>
        </pc:spChg>
        <pc:spChg chg="mod">
          <ac:chgData name="Isabelle LEBO" userId="f1c985e3-394e-48e8-9a67-d1528b48b78a" providerId="ADAL" clId="{D8C265B6-48C0-4DCB-8693-C44AF1BF226F}" dt="2023-02-28T13:22:50.058" v="1157" actId="14100"/>
          <ac:spMkLst>
            <pc:docMk/>
            <pc:sldMk cId="236547496" sldId="344"/>
            <ac:spMk id="57" creationId="{D359DF24-C1DD-4879-97C3-AEAD6CFA3079}"/>
          </ac:spMkLst>
        </pc:spChg>
        <pc:spChg chg="mod">
          <ac:chgData name="Isabelle LEBO" userId="f1c985e3-394e-48e8-9a67-d1528b48b78a" providerId="ADAL" clId="{D8C265B6-48C0-4DCB-8693-C44AF1BF226F}" dt="2023-02-28T13:22:47.253" v="1156" actId="14100"/>
          <ac:spMkLst>
            <pc:docMk/>
            <pc:sldMk cId="236547496" sldId="344"/>
            <ac:spMk id="58" creationId="{A6FB896C-6318-4852-B1FD-0519404B7E41}"/>
          </ac:spMkLst>
        </pc:spChg>
        <pc:spChg chg="mod">
          <ac:chgData name="Isabelle LEBO" userId="f1c985e3-394e-48e8-9a67-d1528b48b78a" providerId="ADAL" clId="{D8C265B6-48C0-4DCB-8693-C44AF1BF226F}" dt="2023-02-28T13:22:42.594" v="1155" actId="14100"/>
          <ac:spMkLst>
            <pc:docMk/>
            <pc:sldMk cId="236547496" sldId="344"/>
            <ac:spMk id="59" creationId="{3982BED9-39BF-4086-82AF-CBABD868F009}"/>
          </ac:spMkLst>
        </pc:spChg>
      </pc:sldChg>
      <pc:sldChg chg="addSp delSp modSp mod">
        <pc:chgData name="Isabelle LEBO" userId="f1c985e3-394e-48e8-9a67-d1528b48b78a" providerId="ADAL" clId="{D8C265B6-48C0-4DCB-8693-C44AF1BF226F}" dt="2023-03-02T11:36:30.225" v="1569" actId="6549"/>
        <pc:sldMkLst>
          <pc:docMk/>
          <pc:sldMk cId="483477197" sldId="350"/>
        </pc:sldMkLst>
        <pc:spChg chg="add mod">
          <ac:chgData name="Isabelle LEBO" userId="f1c985e3-394e-48e8-9a67-d1528b48b78a" providerId="ADAL" clId="{D8C265B6-48C0-4DCB-8693-C44AF1BF226F}" dt="2023-02-28T13:06:18.702" v="906" actId="108"/>
          <ac:spMkLst>
            <pc:docMk/>
            <pc:sldMk cId="483477197" sldId="350"/>
            <ac:spMk id="4" creationId="{BC39DF67-23E9-E4D1-B424-292A7F7FEE57}"/>
          </ac:spMkLst>
        </pc:spChg>
        <pc:spChg chg="add mod">
          <ac:chgData name="Isabelle LEBO" userId="f1c985e3-394e-48e8-9a67-d1528b48b78a" providerId="ADAL" clId="{D8C265B6-48C0-4DCB-8693-C44AF1BF226F}" dt="2023-03-02T11:36:30.225" v="1569" actId="6549"/>
          <ac:spMkLst>
            <pc:docMk/>
            <pc:sldMk cId="483477197" sldId="350"/>
            <ac:spMk id="7" creationId="{C29C41AC-6FA3-A148-7334-64E199F22EF5}"/>
          </ac:spMkLst>
        </pc:spChg>
        <pc:spChg chg="mod">
          <ac:chgData name="Isabelle LEBO" userId="f1c985e3-394e-48e8-9a67-d1528b48b78a" providerId="ADAL" clId="{D8C265B6-48C0-4DCB-8693-C44AF1BF226F}" dt="2023-02-28T13:18:58.231" v="1118" actId="20577"/>
          <ac:spMkLst>
            <pc:docMk/>
            <pc:sldMk cId="483477197" sldId="350"/>
            <ac:spMk id="11" creationId="{4C922AE4-36AE-44FB-BF35-84752FD8F219}"/>
          </ac:spMkLst>
        </pc:spChg>
        <pc:spChg chg="mod">
          <ac:chgData name="Isabelle LEBO" userId="f1c985e3-394e-48e8-9a67-d1528b48b78a" providerId="ADAL" clId="{D8C265B6-48C0-4DCB-8693-C44AF1BF226F}" dt="2023-02-28T13:19:07.329" v="1126" actId="20577"/>
          <ac:spMkLst>
            <pc:docMk/>
            <pc:sldMk cId="483477197" sldId="350"/>
            <ac:spMk id="12" creationId="{0AE13D6A-EE3F-4AB3-B030-050ADBB191C7}"/>
          </ac:spMkLst>
        </pc:spChg>
        <pc:spChg chg="mod">
          <ac:chgData name="Isabelle LEBO" userId="f1c985e3-394e-48e8-9a67-d1528b48b78a" providerId="ADAL" clId="{D8C265B6-48C0-4DCB-8693-C44AF1BF226F}" dt="2023-02-28T13:19:17.092" v="1127" actId="1076"/>
          <ac:spMkLst>
            <pc:docMk/>
            <pc:sldMk cId="483477197" sldId="350"/>
            <ac:spMk id="27" creationId="{EBF240E8-CBC7-4AF7-BEE5-4729D6F54012}"/>
          </ac:spMkLst>
        </pc:spChg>
        <pc:spChg chg="mod">
          <ac:chgData name="Isabelle LEBO" userId="f1c985e3-394e-48e8-9a67-d1528b48b78a" providerId="ADAL" clId="{D8C265B6-48C0-4DCB-8693-C44AF1BF226F}" dt="2023-02-28T13:08:18.627" v="963" actId="404"/>
          <ac:spMkLst>
            <pc:docMk/>
            <pc:sldMk cId="483477197" sldId="350"/>
            <ac:spMk id="30" creationId="{3CFDE9DB-2BD3-4E8C-A3EB-63EC96C9D968}"/>
          </ac:spMkLst>
        </pc:spChg>
        <pc:picChg chg="del">
          <ac:chgData name="Isabelle LEBO" userId="f1c985e3-394e-48e8-9a67-d1528b48b78a" providerId="ADAL" clId="{D8C265B6-48C0-4DCB-8693-C44AF1BF226F}" dt="2023-02-28T13:05:55.324" v="900" actId="478"/>
          <ac:picMkLst>
            <pc:docMk/>
            <pc:sldMk cId="483477197" sldId="350"/>
            <ac:picMk id="3" creationId="{532153CF-811E-4E46-86DD-3BE7D8F4D9F7}"/>
          </ac:picMkLst>
        </pc:picChg>
        <pc:picChg chg="mod">
          <ac:chgData name="Isabelle LEBO" userId="f1c985e3-394e-48e8-9a67-d1528b48b78a" providerId="ADAL" clId="{D8C265B6-48C0-4DCB-8693-C44AF1BF226F}" dt="2023-02-28T13:08:33.436" v="966" actId="1076"/>
          <ac:picMkLst>
            <pc:docMk/>
            <pc:sldMk cId="483477197" sldId="350"/>
            <ac:picMk id="25" creationId="{4A391AC5-E394-4B0C-80F2-C30BA3AACCCD}"/>
          </ac:picMkLst>
        </pc:picChg>
        <pc:picChg chg="mod">
          <ac:chgData name="Isabelle LEBO" userId="f1c985e3-394e-48e8-9a67-d1528b48b78a" providerId="ADAL" clId="{D8C265B6-48C0-4DCB-8693-C44AF1BF226F}" dt="2023-02-28T13:08:00.437" v="921" actId="1076"/>
          <ac:picMkLst>
            <pc:docMk/>
            <pc:sldMk cId="483477197" sldId="350"/>
            <ac:picMk id="26" creationId="{1FBE27BA-102C-4C4E-B5EE-4D7AA9EB6EB4}"/>
          </ac:picMkLst>
        </pc:picChg>
      </pc:sldChg>
      <pc:sldChg chg="addSp delSp modSp mod">
        <pc:chgData name="Isabelle LEBO" userId="f1c985e3-394e-48e8-9a67-d1528b48b78a" providerId="ADAL" clId="{D8C265B6-48C0-4DCB-8693-C44AF1BF226F}" dt="2023-03-02T11:43:27.349" v="1613" actId="1076"/>
        <pc:sldMkLst>
          <pc:docMk/>
          <pc:sldMk cId="3975832059" sldId="352"/>
        </pc:sldMkLst>
        <pc:spChg chg="add del">
          <ac:chgData name="Isabelle LEBO" userId="f1c985e3-394e-48e8-9a67-d1528b48b78a" providerId="ADAL" clId="{D8C265B6-48C0-4DCB-8693-C44AF1BF226F}" dt="2023-02-28T13:15:06.931" v="1058" actId="478"/>
          <ac:spMkLst>
            <pc:docMk/>
            <pc:sldMk cId="3975832059" sldId="352"/>
            <ac:spMk id="4" creationId="{DB08437D-7EC4-6575-67F1-66A6D3F09688}"/>
          </ac:spMkLst>
        </pc:spChg>
        <pc:spChg chg="mod">
          <ac:chgData name="Isabelle LEBO" userId="f1c985e3-394e-48e8-9a67-d1528b48b78a" providerId="ADAL" clId="{D8C265B6-48C0-4DCB-8693-C44AF1BF226F}" dt="2023-02-28T13:13:08.043" v="1055" actId="1036"/>
          <ac:spMkLst>
            <pc:docMk/>
            <pc:sldMk cId="3975832059" sldId="352"/>
            <ac:spMk id="56" creationId="{D387DA36-1B8C-4130-94D4-821D72163EB4}"/>
          </ac:spMkLst>
        </pc:spChg>
        <pc:spChg chg="mod">
          <ac:chgData name="Isabelle LEBO" userId="f1c985e3-394e-48e8-9a67-d1528b48b78a" providerId="ADAL" clId="{D8C265B6-48C0-4DCB-8693-C44AF1BF226F}" dt="2023-02-28T14:23:16.962" v="1553" actId="14100"/>
          <ac:spMkLst>
            <pc:docMk/>
            <pc:sldMk cId="3975832059" sldId="352"/>
            <ac:spMk id="60" creationId="{96D4BD53-B1F6-4247-A226-E1D9341E2B95}"/>
          </ac:spMkLst>
        </pc:spChg>
        <pc:spChg chg="del">
          <ac:chgData name="Isabelle LEBO" userId="f1c985e3-394e-48e8-9a67-d1528b48b78a" providerId="ADAL" clId="{D8C265B6-48C0-4DCB-8693-C44AF1BF226F}" dt="2023-02-28T13:12:55.692" v="1026" actId="478"/>
          <ac:spMkLst>
            <pc:docMk/>
            <pc:sldMk cId="3975832059" sldId="352"/>
            <ac:spMk id="165" creationId="{B6602D46-D241-4C72-8264-836935300B1F}"/>
          </ac:spMkLst>
        </pc:spChg>
        <pc:spChg chg="del mod">
          <ac:chgData name="Isabelle LEBO" userId="f1c985e3-394e-48e8-9a67-d1528b48b78a" providerId="ADAL" clId="{D8C265B6-48C0-4DCB-8693-C44AF1BF226F}" dt="2023-02-28T13:12:59.417" v="1028" actId="478"/>
          <ac:spMkLst>
            <pc:docMk/>
            <pc:sldMk cId="3975832059" sldId="352"/>
            <ac:spMk id="166" creationId="{B49DF27F-04F6-4A4C-BB3D-1E6F640B11E3}"/>
          </ac:spMkLst>
        </pc:spChg>
        <pc:picChg chg="add mod">
          <ac:chgData name="Isabelle LEBO" userId="f1c985e3-394e-48e8-9a67-d1528b48b78a" providerId="ADAL" clId="{D8C265B6-48C0-4DCB-8693-C44AF1BF226F}" dt="2023-03-02T11:43:27.349" v="1613" actId="1076"/>
          <ac:picMkLst>
            <pc:docMk/>
            <pc:sldMk cId="3975832059" sldId="352"/>
            <ac:picMk id="2" creationId="{47C71EFB-E216-55AA-C8C5-1C649A782D81}"/>
          </ac:picMkLst>
        </pc:picChg>
        <pc:picChg chg="del">
          <ac:chgData name="Isabelle LEBO" userId="f1c985e3-394e-48e8-9a67-d1528b48b78a" providerId="ADAL" clId="{D8C265B6-48C0-4DCB-8693-C44AF1BF226F}" dt="2023-02-28T13:12:51.897" v="1025" actId="478"/>
          <ac:picMkLst>
            <pc:docMk/>
            <pc:sldMk cId="3975832059" sldId="352"/>
            <ac:picMk id="3" creationId="{F5E82542-B9B7-43CD-BD9C-7FA24888951A}"/>
          </ac:picMkLst>
        </pc:picChg>
      </pc:sldChg>
      <pc:sldChg chg="del ord">
        <pc:chgData name="Isabelle LEBO" userId="f1c985e3-394e-48e8-9a67-d1528b48b78a" providerId="ADAL" clId="{D8C265B6-48C0-4DCB-8693-C44AF1BF226F}" dt="2023-03-02T11:43:32.259" v="1614" actId="47"/>
        <pc:sldMkLst>
          <pc:docMk/>
          <pc:sldMk cId="2840336336" sldId="355"/>
        </pc:sldMkLst>
      </pc:sldChg>
      <pc:sldChg chg="addSp delSp modSp mod modNotes modNotesTx">
        <pc:chgData name="Isabelle LEBO" userId="f1c985e3-394e-48e8-9a67-d1528b48b78a" providerId="ADAL" clId="{D8C265B6-48C0-4DCB-8693-C44AF1BF226F}" dt="2023-02-28T13:37:56.923" v="1365" actId="27636"/>
        <pc:sldMkLst>
          <pc:docMk/>
          <pc:sldMk cId="274459055" sldId="356"/>
        </pc:sldMkLst>
        <pc:spChg chg="mod">
          <ac:chgData name="Isabelle LEBO" userId="f1c985e3-394e-48e8-9a67-d1528b48b78a" providerId="ADAL" clId="{D8C265B6-48C0-4DCB-8693-C44AF1BF226F}" dt="2023-02-28T12:58:38.837" v="810" actId="403"/>
          <ac:spMkLst>
            <pc:docMk/>
            <pc:sldMk cId="274459055" sldId="356"/>
            <ac:spMk id="7" creationId="{2DC1FEAF-1618-4912-9A1D-688ADF32DCE5}"/>
          </ac:spMkLst>
        </pc:spChg>
        <pc:spChg chg="add mod">
          <ac:chgData name="Isabelle LEBO" userId="f1c985e3-394e-48e8-9a67-d1528b48b78a" providerId="ADAL" clId="{D8C265B6-48C0-4DCB-8693-C44AF1BF226F}" dt="2023-02-28T12:58:42.471" v="811" actId="404"/>
          <ac:spMkLst>
            <pc:docMk/>
            <pc:sldMk cId="274459055" sldId="356"/>
            <ac:spMk id="8" creationId="{004A3CD6-16C5-8F6A-ECC7-47EAEEC639E0}"/>
          </ac:spMkLst>
        </pc:spChg>
        <pc:spChg chg="add del">
          <ac:chgData name="Isabelle LEBO" userId="f1c985e3-394e-48e8-9a67-d1528b48b78a" providerId="ADAL" clId="{D8C265B6-48C0-4DCB-8693-C44AF1BF226F}" dt="2023-02-28T12:52:42.050" v="718" actId="478"/>
          <ac:spMkLst>
            <pc:docMk/>
            <pc:sldMk cId="274459055" sldId="356"/>
            <ac:spMk id="9" creationId="{6913BD11-8865-564A-823F-B0ED0EAE605C}"/>
          </ac:spMkLst>
        </pc:spChg>
        <pc:spChg chg="add del mod">
          <ac:chgData name="Isabelle LEBO" userId="f1c985e3-394e-48e8-9a67-d1528b48b78a" providerId="ADAL" clId="{D8C265B6-48C0-4DCB-8693-C44AF1BF226F}" dt="2023-02-28T12:55:01.480" v="796" actId="1035"/>
          <ac:spMkLst>
            <pc:docMk/>
            <pc:sldMk cId="274459055" sldId="356"/>
            <ac:spMk id="45" creationId="{FC98FE03-26E2-418B-832A-6802E5053658}"/>
          </ac:spMkLst>
        </pc:spChg>
        <pc:grpChg chg="add del mod">
          <ac:chgData name="Isabelle LEBO" userId="f1c985e3-394e-48e8-9a67-d1528b48b78a" providerId="ADAL" clId="{D8C265B6-48C0-4DCB-8693-C44AF1BF226F}" dt="2023-02-28T12:55:01.480" v="796" actId="1035"/>
          <ac:grpSpMkLst>
            <pc:docMk/>
            <pc:sldMk cId="274459055" sldId="356"/>
            <ac:grpSpMk id="2" creationId="{D4620196-D6C9-4998-ADA6-8EC786597C2F}"/>
          </ac:grpSpMkLst>
        </pc:grpChg>
        <pc:grpChg chg="add del mod">
          <ac:chgData name="Isabelle LEBO" userId="f1c985e3-394e-48e8-9a67-d1528b48b78a" providerId="ADAL" clId="{D8C265B6-48C0-4DCB-8693-C44AF1BF226F}" dt="2023-02-28T12:55:01.480" v="796" actId="1035"/>
          <ac:grpSpMkLst>
            <pc:docMk/>
            <pc:sldMk cId="274459055" sldId="356"/>
            <ac:grpSpMk id="3" creationId="{C654F5D6-C263-40F0-9AA8-5C9612930086}"/>
          </ac:grpSpMkLst>
        </pc:grpChg>
        <pc:grpChg chg="add del mod">
          <ac:chgData name="Isabelle LEBO" userId="f1c985e3-394e-48e8-9a67-d1528b48b78a" providerId="ADAL" clId="{D8C265B6-48C0-4DCB-8693-C44AF1BF226F}" dt="2023-02-28T12:55:01.480" v="796" actId="1035"/>
          <ac:grpSpMkLst>
            <pc:docMk/>
            <pc:sldMk cId="274459055" sldId="356"/>
            <ac:grpSpMk id="4" creationId="{D2E84A61-BF46-412F-956D-98EE336E54A9}"/>
          </ac:grpSpMkLst>
        </pc:grpChg>
        <pc:grpChg chg="add del mod">
          <ac:chgData name="Isabelle LEBO" userId="f1c985e3-394e-48e8-9a67-d1528b48b78a" providerId="ADAL" clId="{D8C265B6-48C0-4DCB-8693-C44AF1BF226F}" dt="2023-02-28T12:55:01.480" v="796" actId="1035"/>
          <ac:grpSpMkLst>
            <pc:docMk/>
            <pc:sldMk cId="274459055" sldId="356"/>
            <ac:grpSpMk id="5" creationId="{7E781D2B-14DE-414C-9B3E-2ADFDEEC5D71}"/>
          </ac:grpSpMkLst>
        </pc:grpChg>
        <pc:grpChg chg="del">
          <ac:chgData name="Isabelle LEBO" userId="f1c985e3-394e-48e8-9a67-d1528b48b78a" providerId="ADAL" clId="{D8C265B6-48C0-4DCB-8693-C44AF1BF226F}" dt="2023-02-28T12:54:02.148" v="733" actId="478"/>
          <ac:grpSpMkLst>
            <pc:docMk/>
            <pc:sldMk cId="274459055" sldId="356"/>
            <ac:grpSpMk id="25" creationId="{8A381A05-6A87-4204-8AA7-52DAE750B57B}"/>
          </ac:grpSpMkLst>
        </pc:grpChg>
        <pc:grpChg chg="del">
          <ac:chgData name="Isabelle LEBO" userId="f1c985e3-394e-48e8-9a67-d1528b48b78a" providerId="ADAL" clId="{D8C265B6-48C0-4DCB-8693-C44AF1BF226F}" dt="2023-02-28T12:54:02.148" v="733" actId="478"/>
          <ac:grpSpMkLst>
            <pc:docMk/>
            <pc:sldMk cId="274459055" sldId="356"/>
            <ac:grpSpMk id="36" creationId="{018944EA-4C7F-45A2-A5B2-6419AC3C7580}"/>
          </ac:grpSpMkLst>
        </pc:grpChg>
        <pc:picChg chg="del">
          <ac:chgData name="Isabelle LEBO" userId="f1c985e3-394e-48e8-9a67-d1528b48b78a" providerId="ADAL" clId="{D8C265B6-48C0-4DCB-8693-C44AF1BF226F}" dt="2023-02-28T12:54:02.148" v="733" actId="478"/>
          <ac:picMkLst>
            <pc:docMk/>
            <pc:sldMk cId="274459055" sldId="356"/>
            <ac:picMk id="10" creationId="{FF0FDE19-D642-49C7-90E8-7C04A67E7AE8}"/>
          </ac:picMkLst>
        </pc:picChg>
        <pc:picChg chg="del mod">
          <ac:chgData name="Isabelle LEBO" userId="f1c985e3-394e-48e8-9a67-d1528b48b78a" providerId="ADAL" clId="{D8C265B6-48C0-4DCB-8693-C44AF1BF226F}" dt="2023-02-28T12:53:49.585" v="732" actId="478"/>
          <ac:picMkLst>
            <pc:docMk/>
            <pc:sldMk cId="274459055" sldId="356"/>
            <ac:picMk id="44" creationId="{1209FC5E-C793-41C3-9532-8882F118B36E}"/>
          </ac:picMkLst>
        </pc:picChg>
        <pc:picChg chg="del">
          <ac:chgData name="Isabelle LEBO" userId="f1c985e3-394e-48e8-9a67-d1528b48b78a" providerId="ADAL" clId="{D8C265B6-48C0-4DCB-8693-C44AF1BF226F}" dt="2023-02-28T12:54:02.148" v="733" actId="478"/>
          <ac:picMkLst>
            <pc:docMk/>
            <pc:sldMk cId="274459055" sldId="356"/>
            <ac:picMk id="1026" creationId="{BCA5378A-7C13-4852-AE7D-71BB24FBAE5D}"/>
          </ac:picMkLst>
        </pc:picChg>
      </pc:sldChg>
      <pc:sldChg chg="addSp delSp modSp mod">
        <pc:chgData name="Isabelle LEBO" userId="f1c985e3-394e-48e8-9a67-d1528b48b78a" providerId="ADAL" clId="{D8C265B6-48C0-4DCB-8693-C44AF1BF226F}" dt="2023-03-02T11:43:44.468" v="1620" actId="1037"/>
        <pc:sldMkLst>
          <pc:docMk/>
          <pc:sldMk cId="3123742323" sldId="359"/>
        </pc:sldMkLst>
        <pc:spChg chg="add mod">
          <ac:chgData name="Isabelle LEBO" userId="f1c985e3-394e-48e8-9a67-d1528b48b78a" providerId="ADAL" clId="{D8C265B6-48C0-4DCB-8693-C44AF1BF226F}" dt="2023-02-28T13:51:35.184" v="1542" actId="1076"/>
          <ac:spMkLst>
            <pc:docMk/>
            <pc:sldMk cId="3123742323" sldId="359"/>
            <ac:spMk id="4" creationId="{63788AFE-8751-3DD4-D85A-C8DC9ADAB198}"/>
          </ac:spMkLst>
        </pc:spChg>
        <pc:spChg chg="add mod">
          <ac:chgData name="Isabelle LEBO" userId="f1c985e3-394e-48e8-9a67-d1528b48b78a" providerId="ADAL" clId="{D8C265B6-48C0-4DCB-8693-C44AF1BF226F}" dt="2023-03-02T11:39:13.740" v="1583" actId="14100"/>
          <ac:spMkLst>
            <pc:docMk/>
            <pc:sldMk cId="3123742323" sldId="359"/>
            <ac:spMk id="7" creationId="{29ED6790-4D15-D82A-2DB3-E1DD8081FAC5}"/>
          </ac:spMkLst>
        </pc:spChg>
        <pc:spChg chg="mod">
          <ac:chgData name="Isabelle LEBO" userId="f1c985e3-394e-48e8-9a67-d1528b48b78a" providerId="ADAL" clId="{D8C265B6-48C0-4DCB-8693-C44AF1BF226F}" dt="2023-03-02T11:43:44.468" v="1620" actId="1037"/>
          <ac:spMkLst>
            <pc:docMk/>
            <pc:sldMk cId="3123742323" sldId="359"/>
            <ac:spMk id="9" creationId="{E78EBD05-8663-4CD9-9750-B41CBECF705A}"/>
          </ac:spMkLst>
        </pc:spChg>
        <pc:spChg chg="mod">
          <ac:chgData name="Isabelle LEBO" userId="f1c985e3-394e-48e8-9a67-d1528b48b78a" providerId="ADAL" clId="{D8C265B6-48C0-4DCB-8693-C44AF1BF226F}" dt="2023-02-28T13:50:19.302" v="1536" actId="1076"/>
          <ac:spMkLst>
            <pc:docMk/>
            <pc:sldMk cId="3123742323" sldId="359"/>
            <ac:spMk id="11" creationId="{71B83F56-DF2F-48C5-85EA-455035B43B03}"/>
          </ac:spMkLst>
        </pc:spChg>
        <pc:spChg chg="mod">
          <ac:chgData name="Isabelle LEBO" userId="f1c985e3-394e-48e8-9a67-d1528b48b78a" providerId="ADAL" clId="{D8C265B6-48C0-4DCB-8693-C44AF1BF226F}" dt="2023-02-28T13:51:46.486" v="1548" actId="6549"/>
          <ac:spMkLst>
            <pc:docMk/>
            <pc:sldMk cId="3123742323" sldId="359"/>
            <ac:spMk id="26" creationId="{3755758A-4230-4EFA-83AE-438A2593B998}"/>
          </ac:spMkLst>
        </pc:spChg>
        <pc:picChg chg="del">
          <ac:chgData name="Isabelle LEBO" userId="f1c985e3-394e-48e8-9a67-d1528b48b78a" providerId="ADAL" clId="{D8C265B6-48C0-4DCB-8693-C44AF1BF226F}" dt="2023-02-28T12:58:55.774" v="812" actId="478"/>
          <ac:picMkLst>
            <pc:docMk/>
            <pc:sldMk cId="3123742323" sldId="359"/>
            <ac:picMk id="3" creationId="{849B5F10-25FD-420E-AB7D-8763614FA313}"/>
          </ac:picMkLst>
        </pc:picChg>
      </pc:sldChg>
      <pc:sldChg chg="addSp delSp modSp mod modNotes modNotesTx">
        <pc:chgData name="Isabelle LEBO" userId="f1c985e3-394e-48e8-9a67-d1528b48b78a" providerId="ADAL" clId="{D8C265B6-48C0-4DCB-8693-C44AF1BF226F}" dt="2023-03-02T11:42:09.273" v="1608" actId="403"/>
        <pc:sldMkLst>
          <pc:docMk/>
          <pc:sldMk cId="294211617" sldId="360"/>
        </pc:sldMkLst>
        <pc:spChg chg="del mod">
          <ac:chgData name="Isabelle LEBO" userId="f1c985e3-394e-48e8-9a67-d1528b48b78a" providerId="ADAL" clId="{D8C265B6-48C0-4DCB-8693-C44AF1BF226F}" dt="2023-02-28T13:40:42.605" v="1431" actId="478"/>
          <ac:spMkLst>
            <pc:docMk/>
            <pc:sldMk cId="294211617" sldId="360"/>
            <ac:spMk id="2" creationId="{5D507CA4-C372-42D1-96EF-C00063249A71}"/>
          </ac:spMkLst>
        </pc:spChg>
        <pc:spChg chg="add mod">
          <ac:chgData name="Isabelle LEBO" userId="f1c985e3-394e-48e8-9a67-d1528b48b78a" providerId="ADAL" clId="{D8C265B6-48C0-4DCB-8693-C44AF1BF226F}" dt="2023-03-02T11:39:45.514" v="1587" actId="20577"/>
          <ac:spMkLst>
            <pc:docMk/>
            <pc:sldMk cId="294211617" sldId="360"/>
            <ac:spMk id="5" creationId="{BD9434A1-3686-6EC8-E9E8-7B335E335751}"/>
          </ac:spMkLst>
        </pc:spChg>
        <pc:spChg chg="add mod">
          <ac:chgData name="Isabelle LEBO" userId="f1c985e3-394e-48e8-9a67-d1528b48b78a" providerId="ADAL" clId="{D8C265B6-48C0-4DCB-8693-C44AF1BF226F}" dt="2023-02-28T13:38:58.742" v="1412" actId="1076"/>
          <ac:spMkLst>
            <pc:docMk/>
            <pc:sldMk cId="294211617" sldId="360"/>
            <ac:spMk id="8" creationId="{15E85B9F-6C9D-2DDA-A522-62374033006F}"/>
          </ac:spMkLst>
        </pc:spChg>
        <pc:spChg chg="add mod">
          <ac:chgData name="Isabelle LEBO" userId="f1c985e3-394e-48e8-9a67-d1528b48b78a" providerId="ADAL" clId="{D8C265B6-48C0-4DCB-8693-C44AF1BF226F}" dt="2023-02-28T13:38:25.249" v="1390" actId="1036"/>
          <ac:spMkLst>
            <pc:docMk/>
            <pc:sldMk cId="294211617" sldId="360"/>
            <ac:spMk id="10" creationId="{5482F00F-6469-3FEB-5F06-61E4617D460B}"/>
          </ac:spMkLst>
        </pc:spChg>
        <pc:spChg chg="add mod">
          <ac:chgData name="Isabelle LEBO" userId="f1c985e3-394e-48e8-9a67-d1528b48b78a" providerId="ADAL" clId="{D8C265B6-48C0-4DCB-8693-C44AF1BF226F}" dt="2023-03-02T11:42:03.179" v="1607" actId="403"/>
          <ac:spMkLst>
            <pc:docMk/>
            <pc:sldMk cId="294211617" sldId="360"/>
            <ac:spMk id="13" creationId="{4E616770-EEDC-3230-E0A7-8BEBEEB23CF2}"/>
          </ac:spMkLst>
        </pc:spChg>
        <pc:spChg chg="add mod">
          <ac:chgData name="Isabelle LEBO" userId="f1c985e3-394e-48e8-9a67-d1528b48b78a" providerId="ADAL" clId="{D8C265B6-48C0-4DCB-8693-C44AF1BF226F}" dt="2023-03-02T11:41:56.030" v="1606" actId="403"/>
          <ac:spMkLst>
            <pc:docMk/>
            <pc:sldMk cId="294211617" sldId="360"/>
            <ac:spMk id="15" creationId="{EE036BFC-073D-6219-2AE0-47645CA4D3C0}"/>
          </ac:spMkLst>
        </pc:spChg>
        <pc:spChg chg="add mod">
          <ac:chgData name="Isabelle LEBO" userId="f1c985e3-394e-48e8-9a67-d1528b48b78a" providerId="ADAL" clId="{D8C265B6-48C0-4DCB-8693-C44AF1BF226F}" dt="2023-03-02T11:41:50.383" v="1605" actId="403"/>
          <ac:spMkLst>
            <pc:docMk/>
            <pc:sldMk cId="294211617" sldId="360"/>
            <ac:spMk id="17" creationId="{04B024F9-0E14-A46B-E61B-FB9469B47A25}"/>
          </ac:spMkLst>
        </pc:spChg>
        <pc:spChg chg="mod">
          <ac:chgData name="Isabelle LEBO" userId="f1c985e3-394e-48e8-9a67-d1528b48b78a" providerId="ADAL" clId="{D8C265B6-48C0-4DCB-8693-C44AF1BF226F}" dt="2023-02-28T13:37:18.659" v="1361" actId="1076"/>
          <ac:spMkLst>
            <pc:docMk/>
            <pc:sldMk cId="294211617" sldId="360"/>
            <ac:spMk id="21" creationId="{639E5C70-D8FD-4DA3-95DC-A43685FDF7EE}"/>
          </ac:spMkLst>
        </pc:spChg>
        <pc:spChg chg="mod">
          <ac:chgData name="Isabelle LEBO" userId="f1c985e3-394e-48e8-9a67-d1528b48b78a" providerId="ADAL" clId="{D8C265B6-48C0-4DCB-8693-C44AF1BF226F}" dt="2023-03-02T11:39:37.694" v="1586" actId="20577"/>
          <ac:spMkLst>
            <pc:docMk/>
            <pc:sldMk cId="294211617" sldId="360"/>
            <ac:spMk id="22" creationId="{DA0BA25C-AECC-476B-9173-BA164AEA2A59}"/>
          </ac:spMkLst>
        </pc:spChg>
        <pc:spChg chg="mod">
          <ac:chgData name="Isabelle LEBO" userId="f1c985e3-394e-48e8-9a67-d1528b48b78a" providerId="ADAL" clId="{D8C265B6-48C0-4DCB-8693-C44AF1BF226F}" dt="2023-02-28T13:38:55.307" v="1411" actId="1076"/>
          <ac:spMkLst>
            <pc:docMk/>
            <pc:sldMk cId="294211617" sldId="360"/>
            <ac:spMk id="23" creationId="{4E55EF57-2AE4-420C-98D2-D1A78050148E}"/>
          </ac:spMkLst>
        </pc:spChg>
        <pc:spChg chg="mod">
          <ac:chgData name="Isabelle LEBO" userId="f1c985e3-394e-48e8-9a67-d1528b48b78a" providerId="ADAL" clId="{D8C265B6-48C0-4DCB-8693-C44AF1BF226F}" dt="2023-02-28T13:40:16.498" v="1423" actId="20577"/>
          <ac:spMkLst>
            <pc:docMk/>
            <pc:sldMk cId="294211617" sldId="360"/>
            <ac:spMk id="26" creationId="{EE5D63E8-674E-4FC1-8325-CE56BD3ECE2F}"/>
          </ac:spMkLst>
        </pc:spChg>
        <pc:spChg chg="mod">
          <ac:chgData name="Isabelle LEBO" userId="f1c985e3-394e-48e8-9a67-d1528b48b78a" providerId="ADAL" clId="{D8C265B6-48C0-4DCB-8693-C44AF1BF226F}" dt="2023-02-28T13:37:15.469" v="1360" actId="404"/>
          <ac:spMkLst>
            <pc:docMk/>
            <pc:sldMk cId="294211617" sldId="360"/>
            <ac:spMk id="27" creationId="{EDD13761-E6CC-414E-AAC5-877DFAFD76F4}"/>
          </ac:spMkLst>
        </pc:spChg>
        <pc:spChg chg="mod">
          <ac:chgData name="Isabelle LEBO" userId="f1c985e3-394e-48e8-9a67-d1528b48b78a" providerId="ADAL" clId="{D8C265B6-48C0-4DCB-8693-C44AF1BF226F}" dt="2023-02-28T13:37:27.344" v="1362" actId="403"/>
          <ac:spMkLst>
            <pc:docMk/>
            <pc:sldMk cId="294211617" sldId="360"/>
            <ac:spMk id="29" creationId="{16CC76B9-0EB8-4D86-A3CF-8BB44AA134C8}"/>
          </ac:spMkLst>
        </pc:spChg>
        <pc:spChg chg="del mod">
          <ac:chgData name="Isabelle LEBO" userId="f1c985e3-394e-48e8-9a67-d1528b48b78a" providerId="ADAL" clId="{D8C265B6-48C0-4DCB-8693-C44AF1BF226F}" dt="2023-02-28T13:30:47.440" v="1219" actId="478"/>
          <ac:spMkLst>
            <pc:docMk/>
            <pc:sldMk cId="294211617" sldId="360"/>
            <ac:spMk id="31" creationId="{9273B756-AD9D-40E0-ACD2-D3038B98B64B}"/>
          </ac:spMkLst>
        </pc:spChg>
        <pc:spChg chg="mod">
          <ac:chgData name="Isabelle LEBO" userId="f1c985e3-394e-48e8-9a67-d1528b48b78a" providerId="ADAL" clId="{D8C265B6-48C0-4DCB-8693-C44AF1BF226F}" dt="2023-03-02T11:40:53.067" v="1588" actId="20577"/>
          <ac:spMkLst>
            <pc:docMk/>
            <pc:sldMk cId="294211617" sldId="360"/>
            <ac:spMk id="32" creationId="{FE3BCB1D-B3AB-4CDA-AC3E-6BA7F67B37A2}"/>
          </ac:spMkLst>
        </pc:spChg>
        <pc:spChg chg="del mod">
          <ac:chgData name="Isabelle LEBO" userId="f1c985e3-394e-48e8-9a67-d1528b48b78a" providerId="ADAL" clId="{D8C265B6-48C0-4DCB-8693-C44AF1BF226F}" dt="2023-02-28T13:40:39.632" v="1430" actId="478"/>
          <ac:spMkLst>
            <pc:docMk/>
            <pc:sldMk cId="294211617" sldId="360"/>
            <ac:spMk id="33" creationId="{2EAFAE4F-39CD-4516-870E-32885328DAA1}"/>
          </ac:spMkLst>
        </pc:spChg>
        <pc:spChg chg="del">
          <ac:chgData name="Isabelle LEBO" userId="f1c985e3-394e-48e8-9a67-d1528b48b78a" providerId="ADAL" clId="{D8C265B6-48C0-4DCB-8693-C44AF1BF226F}" dt="2023-02-28T13:28:55.315" v="1190" actId="478"/>
          <ac:spMkLst>
            <pc:docMk/>
            <pc:sldMk cId="294211617" sldId="360"/>
            <ac:spMk id="36" creationId="{6968A7B6-BFA1-4C7C-8666-1595077E0A77}"/>
          </ac:spMkLst>
        </pc:spChg>
        <pc:spChg chg="add mod">
          <ac:chgData name="Isabelle LEBO" userId="f1c985e3-394e-48e8-9a67-d1528b48b78a" providerId="ADAL" clId="{D8C265B6-48C0-4DCB-8693-C44AF1BF226F}" dt="2023-03-02T11:42:09.273" v="1608" actId="403"/>
          <ac:spMkLst>
            <pc:docMk/>
            <pc:sldMk cId="294211617" sldId="360"/>
            <ac:spMk id="37" creationId="{E2713777-8E5E-2475-5D40-3857D21881F0}"/>
          </ac:spMkLst>
        </pc:spChg>
        <pc:spChg chg="del mod">
          <ac:chgData name="Isabelle LEBO" userId="f1c985e3-394e-48e8-9a67-d1528b48b78a" providerId="ADAL" clId="{D8C265B6-48C0-4DCB-8693-C44AF1BF226F}" dt="2023-02-28T13:40:42.605" v="1431" actId="478"/>
          <ac:spMkLst>
            <pc:docMk/>
            <pc:sldMk cId="294211617" sldId="360"/>
            <ac:spMk id="40" creationId="{0BD34D92-A45C-42CC-A9F4-35F4197B9EDE}"/>
          </ac:spMkLst>
        </pc:spChg>
        <pc:spChg chg="del mod">
          <ac:chgData name="Isabelle LEBO" userId="f1c985e3-394e-48e8-9a67-d1528b48b78a" providerId="ADAL" clId="{D8C265B6-48C0-4DCB-8693-C44AF1BF226F}" dt="2023-02-28T13:40:39.632" v="1430" actId="478"/>
          <ac:spMkLst>
            <pc:docMk/>
            <pc:sldMk cId="294211617" sldId="360"/>
            <ac:spMk id="41" creationId="{A5C44C64-D323-44FE-9FB9-F7CDF63CD838}"/>
          </ac:spMkLst>
        </pc:spChg>
        <pc:grpChg chg="mod">
          <ac:chgData name="Isabelle LEBO" userId="f1c985e3-394e-48e8-9a67-d1528b48b78a" providerId="ADAL" clId="{D8C265B6-48C0-4DCB-8693-C44AF1BF226F}" dt="2023-02-28T13:39:51.521" v="1416" actId="1076"/>
          <ac:grpSpMkLst>
            <pc:docMk/>
            <pc:sldMk cId="294211617" sldId="360"/>
            <ac:grpSpMk id="4" creationId="{67B78EA5-B62C-47B2-ACCE-02A658AA3D8E}"/>
          </ac:grpSpMkLst>
        </pc:grpChg>
        <pc:grpChg chg="mod">
          <ac:chgData name="Isabelle LEBO" userId="f1c985e3-394e-48e8-9a67-d1528b48b78a" providerId="ADAL" clId="{D8C265B6-48C0-4DCB-8693-C44AF1BF226F}" dt="2023-02-28T13:38:25.249" v="1390" actId="1036"/>
          <ac:grpSpMkLst>
            <pc:docMk/>
            <pc:sldMk cId="294211617" sldId="360"/>
            <ac:grpSpMk id="19" creationId="{2ACBACAD-DA04-4E99-AB59-152E891CA312}"/>
          </ac:grpSpMkLst>
        </pc:grpChg>
        <pc:grpChg chg="mod">
          <ac:chgData name="Isabelle LEBO" userId="f1c985e3-394e-48e8-9a67-d1528b48b78a" providerId="ADAL" clId="{D8C265B6-48C0-4DCB-8693-C44AF1BF226F}" dt="2023-02-28T13:37:34.911" v="1363" actId="1076"/>
          <ac:grpSpMkLst>
            <pc:docMk/>
            <pc:sldMk cId="294211617" sldId="360"/>
            <ac:grpSpMk id="34" creationId="{3896A775-5731-4B1A-80C2-FF4C3810B9D4}"/>
          </ac:grpSpMkLst>
        </pc:grpChg>
        <pc:picChg chg="add del">
          <ac:chgData name="Isabelle LEBO" userId="f1c985e3-394e-48e8-9a67-d1528b48b78a" providerId="ADAL" clId="{D8C265B6-48C0-4DCB-8693-C44AF1BF226F}" dt="2023-02-28T13:38:06.372" v="1366" actId="478"/>
          <ac:picMkLst>
            <pc:docMk/>
            <pc:sldMk cId="294211617" sldId="360"/>
            <ac:picMk id="11" creationId="{3F3E4442-9A24-29F9-EE2C-2E35B6B604D9}"/>
          </ac:picMkLst>
        </pc:picChg>
      </pc:sldChg>
      <pc:sldChg chg="addSp delSp modSp mod">
        <pc:chgData name="Isabelle LEBO" userId="f1c985e3-394e-48e8-9a67-d1528b48b78a" providerId="ADAL" clId="{D8C265B6-48C0-4DCB-8693-C44AF1BF226F}" dt="2023-03-03T08:32:31.686" v="1984" actId="478"/>
        <pc:sldMkLst>
          <pc:docMk/>
          <pc:sldMk cId="823223261" sldId="362"/>
        </pc:sldMkLst>
        <pc:spChg chg="add mod">
          <ac:chgData name="Isabelle LEBO" userId="f1c985e3-394e-48e8-9a67-d1528b48b78a" providerId="ADAL" clId="{D8C265B6-48C0-4DCB-8693-C44AF1BF226F}" dt="2023-03-03T08:32:28.580" v="1983" actId="478"/>
          <ac:spMkLst>
            <pc:docMk/>
            <pc:sldMk cId="823223261" sldId="362"/>
            <ac:spMk id="3" creationId="{E33C9EB5-0921-FA9B-BB4A-B1A9648C2C85}"/>
          </ac:spMkLst>
        </pc:spChg>
        <pc:spChg chg="del">
          <ac:chgData name="Isabelle LEBO" userId="f1c985e3-394e-48e8-9a67-d1528b48b78a" providerId="ADAL" clId="{D8C265B6-48C0-4DCB-8693-C44AF1BF226F}" dt="2023-03-03T08:32:31.686" v="1984" actId="478"/>
          <ac:spMkLst>
            <pc:docMk/>
            <pc:sldMk cId="823223261" sldId="362"/>
            <ac:spMk id="4" creationId="{F4122028-FBE4-4813-A453-0B0C4FFE60C3}"/>
          </ac:spMkLst>
        </pc:spChg>
        <pc:spChg chg="add mod">
          <ac:chgData name="Isabelle LEBO" userId="f1c985e3-394e-48e8-9a67-d1528b48b78a" providerId="ADAL" clId="{D8C265B6-48C0-4DCB-8693-C44AF1BF226F}" dt="2023-03-03T08:32:31.686" v="1984" actId="478"/>
          <ac:spMkLst>
            <pc:docMk/>
            <pc:sldMk cId="823223261" sldId="362"/>
            <ac:spMk id="10" creationId="{B6FD44D2-5BE6-CC78-FECB-240F1D8777BB}"/>
          </ac:spMkLst>
        </pc:spChg>
        <pc:spChg chg="del">
          <ac:chgData name="Isabelle LEBO" userId="f1c985e3-394e-48e8-9a67-d1528b48b78a" providerId="ADAL" clId="{D8C265B6-48C0-4DCB-8693-C44AF1BF226F}" dt="2023-03-03T08:32:28.580" v="1983" actId="478"/>
          <ac:spMkLst>
            <pc:docMk/>
            <pc:sldMk cId="823223261" sldId="362"/>
            <ac:spMk id="11" creationId="{FEFD8BE5-0992-437F-AFE9-B62EF1BB3E33}"/>
          </ac:spMkLst>
        </pc:spChg>
      </pc:sldChg>
      <pc:sldChg chg="modSp mod">
        <pc:chgData name="Isabelle LEBO" userId="f1c985e3-394e-48e8-9a67-d1528b48b78a" providerId="ADAL" clId="{D8C265B6-48C0-4DCB-8693-C44AF1BF226F}" dt="2023-02-28T13:12:29.232" v="1024" actId="1036"/>
        <pc:sldMkLst>
          <pc:docMk/>
          <pc:sldMk cId="3041241017" sldId="426"/>
        </pc:sldMkLst>
        <pc:picChg chg="mod">
          <ac:chgData name="Isabelle LEBO" userId="f1c985e3-394e-48e8-9a67-d1528b48b78a" providerId="ADAL" clId="{D8C265B6-48C0-4DCB-8693-C44AF1BF226F}" dt="2023-02-28T13:12:23.874" v="1017" actId="1036"/>
          <ac:picMkLst>
            <pc:docMk/>
            <pc:sldMk cId="3041241017" sldId="426"/>
            <ac:picMk id="7" creationId="{73B3333B-DC21-4609-929A-0212EFDD6681}"/>
          </ac:picMkLst>
        </pc:picChg>
        <pc:picChg chg="mod">
          <ac:chgData name="Isabelle LEBO" userId="f1c985e3-394e-48e8-9a67-d1528b48b78a" providerId="ADAL" clId="{D8C265B6-48C0-4DCB-8693-C44AF1BF226F}" dt="2023-02-28T13:12:18.173" v="1007" actId="1036"/>
          <ac:picMkLst>
            <pc:docMk/>
            <pc:sldMk cId="3041241017" sldId="426"/>
            <ac:picMk id="8" creationId="{9EFB7426-73E7-4070-BEDE-2206D695B3C6}"/>
          </ac:picMkLst>
        </pc:picChg>
        <pc:picChg chg="mod">
          <ac:chgData name="Isabelle LEBO" userId="f1c985e3-394e-48e8-9a67-d1528b48b78a" providerId="ADAL" clId="{D8C265B6-48C0-4DCB-8693-C44AF1BF226F}" dt="2023-02-28T13:12:18.173" v="1007" actId="1036"/>
          <ac:picMkLst>
            <pc:docMk/>
            <pc:sldMk cId="3041241017" sldId="426"/>
            <ac:picMk id="9" creationId="{7887F225-1E6A-44BF-BF1F-45232032C650}"/>
          </ac:picMkLst>
        </pc:picChg>
        <pc:picChg chg="mod">
          <ac:chgData name="Isabelle LEBO" userId="f1c985e3-394e-48e8-9a67-d1528b48b78a" providerId="ADAL" clId="{D8C265B6-48C0-4DCB-8693-C44AF1BF226F}" dt="2023-02-28T13:12:29.232" v="1024" actId="1036"/>
          <ac:picMkLst>
            <pc:docMk/>
            <pc:sldMk cId="3041241017" sldId="426"/>
            <ac:picMk id="12" creationId="{54D57243-66AB-4C6E-B862-128C0BECC79D}"/>
          </ac:picMkLst>
        </pc:picChg>
        <pc:picChg chg="mod">
          <ac:chgData name="Isabelle LEBO" userId="f1c985e3-394e-48e8-9a67-d1528b48b78a" providerId="ADAL" clId="{D8C265B6-48C0-4DCB-8693-C44AF1BF226F}" dt="2023-02-28T13:12:18.173" v="1007" actId="1036"/>
          <ac:picMkLst>
            <pc:docMk/>
            <pc:sldMk cId="3041241017" sldId="426"/>
            <ac:picMk id="13" creationId="{69236836-4340-4394-899E-B8F5C17C2EB3}"/>
          </ac:picMkLst>
        </pc:picChg>
        <pc:picChg chg="mod">
          <ac:chgData name="Isabelle LEBO" userId="f1c985e3-394e-48e8-9a67-d1528b48b78a" providerId="ADAL" clId="{D8C265B6-48C0-4DCB-8693-C44AF1BF226F}" dt="2023-02-28T13:12:18.173" v="1007" actId="1036"/>
          <ac:picMkLst>
            <pc:docMk/>
            <pc:sldMk cId="3041241017" sldId="426"/>
            <ac:picMk id="1026" creationId="{D2E99740-CFA7-4E3B-8A3C-E1D81249F313}"/>
          </ac:picMkLst>
        </pc:picChg>
      </pc:sldChg>
      <pc:sldChg chg="modSp mod">
        <pc:chgData name="Isabelle LEBO" userId="f1c985e3-394e-48e8-9a67-d1528b48b78a" providerId="ADAL" clId="{D8C265B6-48C0-4DCB-8693-C44AF1BF226F}" dt="2023-03-03T08:38:29.824" v="2048" actId="20577"/>
        <pc:sldMkLst>
          <pc:docMk/>
          <pc:sldMk cId="0" sldId="801"/>
        </pc:sldMkLst>
        <pc:spChg chg="mod">
          <ac:chgData name="Isabelle LEBO" userId="f1c985e3-394e-48e8-9a67-d1528b48b78a" providerId="ADAL" clId="{D8C265B6-48C0-4DCB-8693-C44AF1BF226F}" dt="2023-03-03T08:38:29.824" v="2048" actId="20577"/>
          <ac:spMkLst>
            <pc:docMk/>
            <pc:sldMk cId="0" sldId="801"/>
            <ac:spMk id="185346" creationId="{24A53F21-869C-4F80-874E-45658CEF2706}"/>
          </ac:spMkLst>
        </pc:spChg>
      </pc:sldChg>
      <pc:sldChg chg="modSp del mod">
        <pc:chgData name="Isabelle LEBO" userId="f1c985e3-394e-48e8-9a67-d1528b48b78a" providerId="ADAL" clId="{D8C265B6-48C0-4DCB-8693-C44AF1BF226F}" dt="2023-03-03T08:47:37.429" v="2056" actId="47"/>
        <pc:sldMkLst>
          <pc:docMk/>
          <pc:sldMk cId="642005548" sldId="1561"/>
        </pc:sldMkLst>
        <pc:spChg chg="mod">
          <ac:chgData name="Isabelle LEBO" userId="f1c985e3-394e-48e8-9a67-d1528b48b78a" providerId="ADAL" clId="{D8C265B6-48C0-4DCB-8693-C44AF1BF226F}" dt="2023-03-03T08:46:58.246" v="2055" actId="20577"/>
          <ac:spMkLst>
            <pc:docMk/>
            <pc:sldMk cId="642005548" sldId="1561"/>
            <ac:spMk id="2" creationId="{A4F4EA4E-70B0-4CB0-B430-40D013400522}"/>
          </ac:spMkLst>
        </pc:spChg>
      </pc:sldChg>
      <pc:sldChg chg="modSp mod">
        <pc:chgData name="Isabelle LEBO" userId="f1c985e3-394e-48e8-9a67-d1528b48b78a" providerId="ADAL" clId="{D8C265B6-48C0-4DCB-8693-C44AF1BF226F}" dt="2023-02-28T09:53:12.821" v="661" actId="14100"/>
        <pc:sldMkLst>
          <pc:docMk/>
          <pc:sldMk cId="245274946" sldId="1580"/>
        </pc:sldMkLst>
        <pc:spChg chg="mod">
          <ac:chgData name="Isabelle LEBO" userId="f1c985e3-394e-48e8-9a67-d1528b48b78a" providerId="ADAL" clId="{D8C265B6-48C0-4DCB-8693-C44AF1BF226F}" dt="2023-02-28T09:52:19.773" v="656" actId="14100"/>
          <ac:spMkLst>
            <pc:docMk/>
            <pc:sldMk cId="245274946" sldId="1580"/>
            <ac:spMk id="18" creationId="{3473E01E-D6EF-44E8-A9A6-387FE395CD8D}"/>
          </ac:spMkLst>
        </pc:spChg>
        <pc:spChg chg="mod">
          <ac:chgData name="Isabelle LEBO" userId="f1c985e3-394e-48e8-9a67-d1528b48b78a" providerId="ADAL" clId="{D8C265B6-48C0-4DCB-8693-C44AF1BF226F}" dt="2023-02-28T09:52:49.606" v="658" actId="20577"/>
          <ac:spMkLst>
            <pc:docMk/>
            <pc:sldMk cId="245274946" sldId="1580"/>
            <ac:spMk id="19" creationId="{1C64F784-003E-4C7E-8C80-73A5ACA365F4}"/>
          </ac:spMkLst>
        </pc:spChg>
        <pc:grpChg chg="mod">
          <ac:chgData name="Isabelle LEBO" userId="f1c985e3-394e-48e8-9a67-d1528b48b78a" providerId="ADAL" clId="{D8C265B6-48C0-4DCB-8693-C44AF1BF226F}" dt="2023-02-28T09:52:15.844" v="655" actId="14100"/>
          <ac:grpSpMkLst>
            <pc:docMk/>
            <pc:sldMk cId="245274946" sldId="1580"/>
            <ac:grpSpMk id="12" creationId="{9BFCB626-75EB-428C-98D3-5A190224D39E}"/>
          </ac:grpSpMkLst>
        </pc:grpChg>
        <pc:picChg chg="mod">
          <ac:chgData name="Isabelle LEBO" userId="f1c985e3-394e-48e8-9a67-d1528b48b78a" providerId="ADAL" clId="{D8C265B6-48C0-4DCB-8693-C44AF1BF226F}" dt="2023-02-28T09:53:12.821" v="661" actId="14100"/>
          <ac:picMkLst>
            <pc:docMk/>
            <pc:sldMk cId="245274946" sldId="1580"/>
            <ac:picMk id="8" creationId="{D020EA83-2BCE-4E42-A411-DA49310E0EA4}"/>
          </ac:picMkLst>
        </pc:picChg>
      </pc:sldChg>
      <pc:sldChg chg="modSp mod addCm modCm">
        <pc:chgData name="Isabelle LEBO" userId="f1c985e3-394e-48e8-9a67-d1528b48b78a" providerId="ADAL" clId="{D8C265B6-48C0-4DCB-8693-C44AF1BF226F}" dt="2023-02-28T09:53:28.738" v="663" actId="20577"/>
        <pc:sldMkLst>
          <pc:docMk/>
          <pc:sldMk cId="4088286712" sldId="1581"/>
        </pc:sldMkLst>
        <pc:spChg chg="mod">
          <ac:chgData name="Isabelle LEBO" userId="f1c985e3-394e-48e8-9a67-d1528b48b78a" providerId="ADAL" clId="{D8C265B6-48C0-4DCB-8693-C44AF1BF226F}" dt="2023-02-28T09:53:28.738" v="663" actId="20577"/>
          <ac:spMkLst>
            <pc:docMk/>
            <pc:sldMk cId="4088286712" sldId="1581"/>
            <ac:spMk id="8" creationId="{C7FBABA7-5FA5-428E-92BA-4469A93ED6A0}"/>
          </ac:spMkLst>
        </pc:spChg>
      </pc:sldChg>
      <pc:sldChg chg="del">
        <pc:chgData name="Isabelle LEBO" userId="f1c985e3-394e-48e8-9a67-d1528b48b78a" providerId="ADAL" clId="{D8C265B6-48C0-4DCB-8693-C44AF1BF226F}" dt="2023-02-27T18:15:25.453" v="577" actId="47"/>
        <pc:sldMkLst>
          <pc:docMk/>
          <pc:sldMk cId="433057677" sldId="1583"/>
        </pc:sldMkLst>
      </pc:sldChg>
      <pc:sldChg chg="modSp mod">
        <pc:chgData name="Isabelle LEBO" userId="f1c985e3-394e-48e8-9a67-d1528b48b78a" providerId="ADAL" clId="{D8C265B6-48C0-4DCB-8693-C44AF1BF226F}" dt="2023-03-03T08:44:25.927" v="2052" actId="20577"/>
        <pc:sldMkLst>
          <pc:docMk/>
          <pc:sldMk cId="2474840419" sldId="1587"/>
        </pc:sldMkLst>
        <pc:spChg chg="mod">
          <ac:chgData name="Isabelle LEBO" userId="f1c985e3-394e-48e8-9a67-d1528b48b78a" providerId="ADAL" clId="{D8C265B6-48C0-4DCB-8693-C44AF1BF226F}" dt="2023-02-28T13:22:26.860" v="1151" actId="14100"/>
          <ac:spMkLst>
            <pc:docMk/>
            <pc:sldMk cId="2474840419" sldId="1587"/>
            <ac:spMk id="14" creationId="{6D636AE5-65F6-4920-BCD1-A4E9B8236234}"/>
          </ac:spMkLst>
        </pc:spChg>
        <pc:spChg chg="mod">
          <ac:chgData name="Isabelle LEBO" userId="f1c985e3-394e-48e8-9a67-d1528b48b78a" providerId="ADAL" clId="{D8C265B6-48C0-4DCB-8693-C44AF1BF226F}" dt="2023-02-28T09:57:20.465" v="674" actId="20577"/>
          <ac:spMkLst>
            <pc:docMk/>
            <pc:sldMk cId="2474840419" sldId="1587"/>
            <ac:spMk id="15" creationId="{57E7994D-A7FE-42AF-8038-A0E98AE1CD36}"/>
          </ac:spMkLst>
        </pc:spChg>
        <pc:spChg chg="mod">
          <ac:chgData name="Isabelle LEBO" userId="f1c985e3-394e-48e8-9a67-d1528b48b78a" providerId="ADAL" clId="{D8C265B6-48C0-4DCB-8693-C44AF1BF226F}" dt="2023-02-28T13:22:06.035" v="1146" actId="1076"/>
          <ac:spMkLst>
            <pc:docMk/>
            <pc:sldMk cId="2474840419" sldId="1587"/>
            <ac:spMk id="18" creationId="{98F6EBA2-3185-4569-AD47-9A2873048374}"/>
          </ac:spMkLst>
        </pc:spChg>
        <pc:spChg chg="mod">
          <ac:chgData name="Isabelle LEBO" userId="f1c985e3-394e-48e8-9a67-d1528b48b78a" providerId="ADAL" clId="{D8C265B6-48C0-4DCB-8693-C44AF1BF226F}" dt="2023-02-27T17:24:09.577" v="360" actId="20577"/>
          <ac:spMkLst>
            <pc:docMk/>
            <pc:sldMk cId="2474840419" sldId="1587"/>
            <ac:spMk id="19" creationId="{62A7FC46-5FBF-4C83-85A8-CBC6306A2F31}"/>
          </ac:spMkLst>
        </pc:spChg>
        <pc:spChg chg="mod">
          <ac:chgData name="Isabelle LEBO" userId="f1c985e3-394e-48e8-9a67-d1528b48b78a" providerId="ADAL" clId="{D8C265B6-48C0-4DCB-8693-C44AF1BF226F}" dt="2023-02-28T13:22:24.803" v="1150" actId="14100"/>
          <ac:spMkLst>
            <pc:docMk/>
            <pc:sldMk cId="2474840419" sldId="1587"/>
            <ac:spMk id="20" creationId="{DB3112BF-7413-4322-B6F7-FF78D2E9944E}"/>
          </ac:spMkLst>
        </pc:spChg>
        <pc:spChg chg="mod">
          <ac:chgData name="Isabelle LEBO" userId="f1c985e3-394e-48e8-9a67-d1528b48b78a" providerId="ADAL" clId="{D8C265B6-48C0-4DCB-8693-C44AF1BF226F}" dt="2023-03-03T08:44:25.927" v="2052" actId="20577"/>
          <ac:spMkLst>
            <pc:docMk/>
            <pc:sldMk cId="2474840419" sldId="1587"/>
            <ac:spMk id="21" creationId="{1E495812-6D2F-4B56-98B6-D7F60EC38C97}"/>
          </ac:spMkLst>
        </pc:spChg>
        <pc:spChg chg="mod">
          <ac:chgData name="Isabelle LEBO" userId="f1c985e3-394e-48e8-9a67-d1528b48b78a" providerId="ADAL" clId="{D8C265B6-48C0-4DCB-8693-C44AF1BF226F}" dt="2023-02-28T13:22:30.265" v="1152" actId="14100"/>
          <ac:spMkLst>
            <pc:docMk/>
            <pc:sldMk cId="2474840419" sldId="1587"/>
            <ac:spMk id="25" creationId="{1159D324-60CF-4715-8FD7-68EF29006492}"/>
          </ac:spMkLst>
        </pc:spChg>
        <pc:spChg chg="mod">
          <ac:chgData name="Isabelle LEBO" userId="f1c985e3-394e-48e8-9a67-d1528b48b78a" providerId="ADAL" clId="{D8C265B6-48C0-4DCB-8693-C44AF1BF226F}" dt="2023-02-28T13:22:16.678" v="1149" actId="20577"/>
          <ac:spMkLst>
            <pc:docMk/>
            <pc:sldMk cId="2474840419" sldId="1587"/>
            <ac:spMk id="26" creationId="{D5D9D813-C446-4A94-8CC7-06776790BF22}"/>
          </ac:spMkLst>
        </pc:spChg>
        <pc:spChg chg="mod">
          <ac:chgData name="Isabelle LEBO" userId="f1c985e3-394e-48e8-9a67-d1528b48b78a" providerId="ADAL" clId="{D8C265B6-48C0-4DCB-8693-C44AF1BF226F}" dt="2023-02-27T18:15:00.510" v="572" actId="20577"/>
          <ac:spMkLst>
            <pc:docMk/>
            <pc:sldMk cId="2474840419" sldId="1587"/>
            <ac:spMk id="27" creationId="{46E525AC-706F-4B0D-A9E5-F84E657FF0CE}"/>
          </ac:spMkLst>
        </pc:spChg>
      </pc:sldChg>
      <pc:sldChg chg="addSp delSp modSp mod">
        <pc:chgData name="Isabelle LEBO" userId="f1c985e3-394e-48e8-9a67-d1528b48b78a" providerId="ADAL" clId="{D8C265B6-48C0-4DCB-8693-C44AF1BF226F}" dt="2023-02-28T13:05:16.096" v="899" actId="1582"/>
        <pc:sldMkLst>
          <pc:docMk/>
          <pc:sldMk cId="1394747852" sldId="1596"/>
        </pc:sldMkLst>
        <pc:spChg chg="mod">
          <ac:chgData name="Isabelle LEBO" userId="f1c985e3-394e-48e8-9a67-d1528b48b78a" providerId="ADAL" clId="{D8C265B6-48C0-4DCB-8693-C44AF1BF226F}" dt="2023-02-28T13:05:16.096" v="899" actId="1582"/>
          <ac:spMkLst>
            <pc:docMk/>
            <pc:sldMk cId="1394747852" sldId="1596"/>
            <ac:spMk id="2" creationId="{381A269D-C112-4BB8-89B2-F8D2BB430ED4}"/>
          </ac:spMkLst>
        </pc:spChg>
        <pc:spChg chg="add mod">
          <ac:chgData name="Isabelle LEBO" userId="f1c985e3-394e-48e8-9a67-d1528b48b78a" providerId="ADAL" clId="{D8C265B6-48C0-4DCB-8693-C44AF1BF226F}" dt="2023-02-28T13:04:27.473" v="891" actId="404"/>
          <ac:spMkLst>
            <pc:docMk/>
            <pc:sldMk cId="1394747852" sldId="1596"/>
            <ac:spMk id="5" creationId="{D1BBA8AF-4F73-F910-532E-EB7D9497E212}"/>
          </ac:spMkLst>
        </pc:spChg>
        <pc:spChg chg="add mod">
          <ac:chgData name="Isabelle LEBO" userId="f1c985e3-394e-48e8-9a67-d1528b48b78a" providerId="ADAL" clId="{D8C265B6-48C0-4DCB-8693-C44AF1BF226F}" dt="2023-02-28T13:04:07.969" v="887" actId="14100"/>
          <ac:spMkLst>
            <pc:docMk/>
            <pc:sldMk cId="1394747852" sldId="1596"/>
            <ac:spMk id="8" creationId="{A1587FFC-FF80-A442-C2CD-DBB90E35C2FE}"/>
          </ac:spMkLst>
        </pc:spChg>
        <pc:spChg chg="mod">
          <ac:chgData name="Isabelle LEBO" userId="f1c985e3-394e-48e8-9a67-d1528b48b78a" providerId="ADAL" clId="{D8C265B6-48C0-4DCB-8693-C44AF1BF226F}" dt="2023-02-28T13:03:06.668" v="879" actId="1076"/>
          <ac:spMkLst>
            <pc:docMk/>
            <pc:sldMk cId="1394747852" sldId="1596"/>
            <ac:spMk id="17" creationId="{96BAA0C7-C4BE-4C5E-8B51-DBA11A27FAFF}"/>
          </ac:spMkLst>
        </pc:spChg>
        <pc:spChg chg="mod">
          <ac:chgData name="Isabelle LEBO" userId="f1c985e3-394e-48e8-9a67-d1528b48b78a" providerId="ADAL" clId="{D8C265B6-48C0-4DCB-8693-C44AF1BF226F}" dt="2023-02-28T13:02:52.739" v="875" actId="1076"/>
          <ac:spMkLst>
            <pc:docMk/>
            <pc:sldMk cId="1394747852" sldId="1596"/>
            <ac:spMk id="28" creationId="{89416FFE-D5B3-49FE-81DF-D953FD7EF1FA}"/>
          </ac:spMkLst>
        </pc:spChg>
        <pc:spChg chg="del mod">
          <ac:chgData name="Isabelle LEBO" userId="f1c985e3-394e-48e8-9a67-d1528b48b78a" providerId="ADAL" clId="{D8C265B6-48C0-4DCB-8693-C44AF1BF226F}" dt="2023-02-28T13:04:41.623" v="893" actId="478"/>
          <ac:spMkLst>
            <pc:docMk/>
            <pc:sldMk cId="1394747852" sldId="1596"/>
            <ac:spMk id="31" creationId="{48C10FFE-0792-4B0F-BDAC-74A8A1F528AA}"/>
          </ac:spMkLst>
        </pc:spChg>
        <pc:spChg chg="del mod">
          <ac:chgData name="Isabelle LEBO" userId="f1c985e3-394e-48e8-9a67-d1528b48b78a" providerId="ADAL" clId="{D8C265B6-48C0-4DCB-8693-C44AF1BF226F}" dt="2023-02-28T13:04:40.867" v="892" actId="478"/>
          <ac:spMkLst>
            <pc:docMk/>
            <pc:sldMk cId="1394747852" sldId="1596"/>
            <ac:spMk id="33" creationId="{C8A315E3-D8EC-420E-B2F0-A3A2B39E9CC9}"/>
          </ac:spMkLst>
        </pc:spChg>
        <pc:spChg chg="del mod">
          <ac:chgData name="Isabelle LEBO" userId="f1c985e3-394e-48e8-9a67-d1528b48b78a" providerId="ADAL" clId="{D8C265B6-48C0-4DCB-8693-C44AF1BF226F}" dt="2023-02-28T13:04:45.344" v="894" actId="478"/>
          <ac:spMkLst>
            <pc:docMk/>
            <pc:sldMk cId="1394747852" sldId="1596"/>
            <ac:spMk id="35" creationId="{9A9FC9B0-B398-47BE-B8DE-17C090B06D47}"/>
          </ac:spMkLst>
        </pc:spChg>
        <pc:spChg chg="mod">
          <ac:chgData name="Isabelle LEBO" userId="f1c985e3-394e-48e8-9a67-d1528b48b78a" providerId="ADAL" clId="{D8C265B6-48C0-4DCB-8693-C44AF1BF226F}" dt="2023-02-28T13:02:37.459" v="873" actId="1036"/>
          <ac:spMkLst>
            <pc:docMk/>
            <pc:sldMk cId="1394747852" sldId="1596"/>
            <ac:spMk id="38" creationId="{3D769E73-B016-458A-9172-A1FCD70ABBA8}"/>
          </ac:spMkLst>
        </pc:spChg>
        <pc:spChg chg="mod">
          <ac:chgData name="Isabelle LEBO" userId="f1c985e3-394e-48e8-9a67-d1528b48b78a" providerId="ADAL" clId="{D8C265B6-48C0-4DCB-8693-C44AF1BF226F}" dt="2023-02-28T13:02:37.459" v="873" actId="1036"/>
          <ac:spMkLst>
            <pc:docMk/>
            <pc:sldMk cId="1394747852" sldId="1596"/>
            <ac:spMk id="39" creationId="{4A775780-CB87-4495-BB57-AFC7461E84B4}"/>
          </ac:spMkLst>
        </pc:spChg>
        <pc:spChg chg="del mod">
          <ac:chgData name="Isabelle LEBO" userId="f1c985e3-394e-48e8-9a67-d1528b48b78a" providerId="ADAL" clId="{D8C265B6-48C0-4DCB-8693-C44AF1BF226F}" dt="2023-02-28T13:04:48.113" v="895" actId="478"/>
          <ac:spMkLst>
            <pc:docMk/>
            <pc:sldMk cId="1394747852" sldId="1596"/>
            <ac:spMk id="43" creationId="{452F5DF7-4797-4DDE-B6FF-1EEA9FF65B80}"/>
          </ac:spMkLst>
        </pc:spChg>
        <pc:grpChg chg="mod">
          <ac:chgData name="Isabelle LEBO" userId="f1c985e3-394e-48e8-9a67-d1528b48b78a" providerId="ADAL" clId="{D8C265B6-48C0-4DCB-8693-C44AF1BF226F}" dt="2023-02-28T13:02:56.205" v="876" actId="1076"/>
          <ac:grpSpMkLst>
            <pc:docMk/>
            <pc:sldMk cId="1394747852" sldId="1596"/>
            <ac:grpSpMk id="18" creationId="{6181534D-37BF-43B7-8F8A-059750B37DA7}"/>
          </ac:grpSpMkLst>
        </pc:grpChg>
        <pc:grpChg chg="mod">
          <ac:chgData name="Isabelle LEBO" userId="f1c985e3-394e-48e8-9a67-d1528b48b78a" providerId="ADAL" clId="{D8C265B6-48C0-4DCB-8693-C44AF1BF226F}" dt="2023-02-28T13:02:59.684" v="877" actId="1076"/>
          <ac:grpSpMkLst>
            <pc:docMk/>
            <pc:sldMk cId="1394747852" sldId="1596"/>
            <ac:grpSpMk id="21" creationId="{CB2B2897-0C2C-4363-833F-43561D16E7B3}"/>
          </ac:grpSpMkLst>
        </pc:grpChg>
        <pc:picChg chg="mod">
          <ac:chgData name="Isabelle LEBO" userId="f1c985e3-394e-48e8-9a67-d1528b48b78a" providerId="ADAL" clId="{D8C265B6-48C0-4DCB-8693-C44AF1BF226F}" dt="2023-02-28T13:03:03.186" v="878" actId="1076"/>
          <ac:picMkLst>
            <pc:docMk/>
            <pc:sldMk cId="1394747852" sldId="1596"/>
            <ac:picMk id="16" creationId="{6CA888B7-F49C-44F2-9C71-4D60225A614A}"/>
          </ac:picMkLst>
        </pc:picChg>
      </pc:sldChg>
      <pc:sldChg chg="del ord">
        <pc:chgData name="Isabelle LEBO" userId="f1c985e3-394e-48e8-9a67-d1528b48b78a" providerId="ADAL" clId="{D8C265B6-48C0-4DCB-8693-C44AF1BF226F}" dt="2023-03-03T08:36:45.167" v="2003" actId="47"/>
        <pc:sldMkLst>
          <pc:docMk/>
          <pc:sldMk cId="3933432708" sldId="3939"/>
        </pc:sldMkLst>
      </pc:sldChg>
      <pc:sldChg chg="del ord">
        <pc:chgData name="Isabelle LEBO" userId="f1c985e3-394e-48e8-9a67-d1528b48b78a" providerId="ADAL" clId="{D8C265B6-48C0-4DCB-8693-C44AF1BF226F}" dt="2023-03-03T08:36:45.815" v="2004" actId="47"/>
        <pc:sldMkLst>
          <pc:docMk/>
          <pc:sldMk cId="537549336" sldId="3940"/>
        </pc:sldMkLst>
      </pc:sldChg>
      <pc:sldChg chg="del ord">
        <pc:chgData name="Isabelle LEBO" userId="f1c985e3-394e-48e8-9a67-d1528b48b78a" providerId="ADAL" clId="{D8C265B6-48C0-4DCB-8693-C44AF1BF226F}" dt="2023-03-03T08:36:47.003" v="2005" actId="47"/>
        <pc:sldMkLst>
          <pc:docMk/>
          <pc:sldMk cId="441712442" sldId="3941"/>
        </pc:sldMkLst>
      </pc:sldChg>
      <pc:sldChg chg="addSp delSp modSp new mod">
        <pc:chgData name="Isabelle LEBO" userId="f1c985e3-394e-48e8-9a67-d1528b48b78a" providerId="ADAL" clId="{D8C265B6-48C0-4DCB-8693-C44AF1BF226F}" dt="2023-03-03T08:32:05.163" v="1982" actId="108"/>
        <pc:sldMkLst>
          <pc:docMk/>
          <pc:sldMk cId="1576789958" sldId="3942"/>
        </pc:sldMkLst>
        <pc:spChg chg="mod">
          <ac:chgData name="Isabelle LEBO" userId="f1c985e3-394e-48e8-9a67-d1528b48b78a" providerId="ADAL" clId="{D8C265B6-48C0-4DCB-8693-C44AF1BF226F}" dt="2023-02-28T14:23:53.320" v="1566" actId="20577"/>
          <ac:spMkLst>
            <pc:docMk/>
            <pc:sldMk cId="1576789958" sldId="3942"/>
            <ac:spMk id="2" creationId="{BF2449A4-160E-91CB-4649-554B766319E9}"/>
          </ac:spMkLst>
        </pc:spChg>
        <pc:spChg chg="mod">
          <ac:chgData name="Isabelle LEBO" userId="f1c985e3-394e-48e8-9a67-d1528b48b78a" providerId="ADAL" clId="{D8C265B6-48C0-4DCB-8693-C44AF1BF226F}" dt="2023-03-03T08:28:01.286" v="1942" actId="2711"/>
          <ac:spMkLst>
            <pc:docMk/>
            <pc:sldMk cId="1576789958" sldId="3942"/>
            <ac:spMk id="3" creationId="{86B119E0-CA24-8F71-28ED-D4C51E294853}"/>
          </ac:spMkLst>
        </pc:spChg>
        <pc:spChg chg="add mod">
          <ac:chgData name="Isabelle LEBO" userId="f1c985e3-394e-48e8-9a67-d1528b48b78a" providerId="ADAL" clId="{D8C265B6-48C0-4DCB-8693-C44AF1BF226F}" dt="2023-03-03T08:29:28.368" v="1957" actId="404"/>
          <ac:spMkLst>
            <pc:docMk/>
            <pc:sldMk cId="1576789958" sldId="3942"/>
            <ac:spMk id="5" creationId="{FAE00E48-DD8F-A729-E38D-6FEC82192EB3}"/>
          </ac:spMkLst>
        </pc:spChg>
        <pc:spChg chg="mod">
          <ac:chgData name="Isabelle LEBO" userId="f1c985e3-394e-48e8-9a67-d1528b48b78a" providerId="ADAL" clId="{D8C265B6-48C0-4DCB-8693-C44AF1BF226F}" dt="2023-03-03T08:28:20.801" v="1945" actId="122"/>
          <ac:spMkLst>
            <pc:docMk/>
            <pc:sldMk cId="1576789958" sldId="3942"/>
            <ac:spMk id="8" creationId="{2BC875DC-21A3-BC14-7CF1-AEA0B64869BC}"/>
          </ac:spMkLst>
        </pc:spChg>
        <pc:spChg chg="add del mod">
          <ac:chgData name="Isabelle LEBO" userId="f1c985e3-394e-48e8-9a67-d1528b48b78a" providerId="ADAL" clId="{D8C265B6-48C0-4DCB-8693-C44AF1BF226F}" dt="2023-03-03T08:30:45.581" v="1964" actId="478"/>
          <ac:spMkLst>
            <pc:docMk/>
            <pc:sldMk cId="1576789958" sldId="3942"/>
            <ac:spMk id="9" creationId="{715FB4D6-2F95-E116-B4F8-8F0B7138FBEF}"/>
          </ac:spMkLst>
        </pc:spChg>
        <pc:spChg chg="add mod">
          <ac:chgData name="Isabelle LEBO" userId="f1c985e3-394e-48e8-9a67-d1528b48b78a" providerId="ADAL" clId="{D8C265B6-48C0-4DCB-8693-C44AF1BF226F}" dt="2023-03-03T08:32:05.163" v="1982" actId="108"/>
          <ac:spMkLst>
            <pc:docMk/>
            <pc:sldMk cId="1576789958" sldId="3942"/>
            <ac:spMk id="11" creationId="{CFC758A1-9BCE-A669-1316-1144A625EF3A}"/>
          </ac:spMkLst>
        </pc:spChg>
        <pc:spChg chg="mod">
          <ac:chgData name="Isabelle LEBO" userId="f1c985e3-394e-48e8-9a67-d1528b48b78a" providerId="ADAL" clId="{D8C265B6-48C0-4DCB-8693-C44AF1BF226F}" dt="2023-03-03T08:26:05.091" v="1924" actId="1076"/>
          <ac:spMkLst>
            <pc:docMk/>
            <pc:sldMk cId="1576789958" sldId="3942"/>
            <ac:spMk id="14" creationId="{95ED7F97-1FCA-2B1E-0166-3287147CB215}"/>
          </ac:spMkLst>
        </pc:spChg>
        <pc:picChg chg="add mod ord">
          <ac:chgData name="Isabelle LEBO" userId="f1c985e3-394e-48e8-9a67-d1528b48b78a" providerId="ADAL" clId="{D8C265B6-48C0-4DCB-8693-C44AF1BF226F}" dt="2023-03-03T08:27:31.661" v="1939" actId="14100"/>
          <ac:picMkLst>
            <pc:docMk/>
            <pc:sldMk cId="1576789958" sldId="3942"/>
            <ac:picMk id="6" creationId="{176DAAC7-3C79-1EEF-E3CC-56DFBB85CB4F}"/>
          </ac:picMkLst>
        </pc:picChg>
        <pc:picChg chg="mod">
          <ac:chgData name="Isabelle LEBO" userId="f1c985e3-394e-48e8-9a67-d1528b48b78a" providerId="ADAL" clId="{D8C265B6-48C0-4DCB-8693-C44AF1BF226F}" dt="2023-03-03T08:29:39.283" v="1958" actId="1076"/>
          <ac:picMkLst>
            <pc:docMk/>
            <pc:sldMk cId="1576789958" sldId="3942"/>
            <ac:picMk id="1026" creationId="{F2D0149F-1219-D912-4AFA-A28F8881F7AC}"/>
          </ac:picMkLst>
        </pc:picChg>
      </pc:sldChg>
      <pc:sldChg chg="addSp modSp new del mod">
        <pc:chgData name="Isabelle LEBO" userId="f1c985e3-394e-48e8-9a67-d1528b48b78a" providerId="ADAL" clId="{D8C265B6-48C0-4DCB-8693-C44AF1BF226F}" dt="2023-02-28T09:58:01.806" v="675" actId="47"/>
        <pc:sldMkLst>
          <pc:docMk/>
          <pc:sldMk cId="2642235626" sldId="3942"/>
        </pc:sldMkLst>
        <pc:spChg chg="add mod">
          <ac:chgData name="Isabelle LEBO" userId="f1c985e3-394e-48e8-9a67-d1528b48b78a" providerId="ADAL" clId="{D8C265B6-48C0-4DCB-8693-C44AF1BF226F}" dt="2023-02-27T18:16:33.136" v="614" actId="20577"/>
          <ac:spMkLst>
            <pc:docMk/>
            <pc:sldMk cId="2642235626" sldId="3942"/>
            <ac:spMk id="4" creationId="{563ABBBD-568A-D1A8-1E0A-514E31557DC0}"/>
          </ac:spMkLst>
        </pc:spChg>
        <pc:picChg chg="add">
          <ac:chgData name="Isabelle LEBO" userId="f1c985e3-394e-48e8-9a67-d1528b48b78a" providerId="ADAL" clId="{D8C265B6-48C0-4DCB-8693-C44AF1BF226F}" dt="2023-02-27T18:16:17.255" v="581"/>
          <ac:picMkLst>
            <pc:docMk/>
            <pc:sldMk cId="2642235626" sldId="3942"/>
            <ac:picMk id="3" creationId="{0F3B615F-C0C6-2EF1-7896-5F08D4BAD180}"/>
          </ac:picMkLst>
        </pc:picChg>
      </pc:sldChg>
      <pc:sldChg chg="addSp delSp modSp new mod ord">
        <pc:chgData name="Isabelle LEBO" userId="f1c985e3-394e-48e8-9a67-d1528b48b78a" providerId="ADAL" clId="{D8C265B6-48C0-4DCB-8693-C44AF1BF226F}" dt="2023-03-03T08:46:20.089" v="2054" actId="404"/>
        <pc:sldMkLst>
          <pc:docMk/>
          <pc:sldMk cId="596822363" sldId="3943"/>
        </pc:sldMkLst>
        <pc:spChg chg="mod">
          <ac:chgData name="Isabelle LEBO" userId="f1c985e3-394e-48e8-9a67-d1528b48b78a" providerId="ADAL" clId="{D8C265B6-48C0-4DCB-8693-C44AF1BF226F}" dt="2023-03-02T14:54:20.200" v="1782" actId="404"/>
          <ac:spMkLst>
            <pc:docMk/>
            <pc:sldMk cId="596822363" sldId="3943"/>
            <ac:spMk id="4" creationId="{263FC635-0A05-D810-BC18-64A2ABDCD6D0}"/>
          </ac:spMkLst>
        </pc:spChg>
        <pc:spChg chg="del mod">
          <ac:chgData name="Isabelle LEBO" userId="f1c985e3-394e-48e8-9a67-d1528b48b78a" providerId="ADAL" clId="{D8C265B6-48C0-4DCB-8693-C44AF1BF226F}" dt="2023-03-02T14:50:49.317" v="1719" actId="478"/>
          <ac:spMkLst>
            <pc:docMk/>
            <pc:sldMk cId="596822363" sldId="3943"/>
            <ac:spMk id="5" creationId="{AFB9DC84-52AD-9BF2-C285-90A28E03F3F0}"/>
          </ac:spMkLst>
        </pc:spChg>
        <pc:spChg chg="add mod ord">
          <ac:chgData name="Isabelle LEBO" userId="f1c985e3-394e-48e8-9a67-d1528b48b78a" providerId="ADAL" clId="{D8C265B6-48C0-4DCB-8693-C44AF1BF226F}" dt="2023-03-03T08:46:20.089" v="2054" actId="404"/>
          <ac:spMkLst>
            <pc:docMk/>
            <pc:sldMk cId="596822363" sldId="3943"/>
            <ac:spMk id="8" creationId="{8BCF9B2B-8B02-F23A-A156-0735256D910D}"/>
          </ac:spMkLst>
        </pc:spChg>
        <pc:spChg chg="add del mod">
          <ac:chgData name="Isabelle LEBO" userId="f1c985e3-394e-48e8-9a67-d1528b48b78a" providerId="ADAL" clId="{D8C265B6-48C0-4DCB-8693-C44AF1BF226F}" dt="2023-03-02T14:50:56.061" v="1721" actId="478"/>
          <ac:spMkLst>
            <pc:docMk/>
            <pc:sldMk cId="596822363" sldId="3943"/>
            <ac:spMk id="11" creationId="{1AC3DED3-C132-2C04-6B27-81E809F8170A}"/>
          </ac:spMkLst>
        </pc:spChg>
        <pc:picChg chg="add mod">
          <ac:chgData name="Isabelle LEBO" userId="f1c985e3-394e-48e8-9a67-d1528b48b78a" providerId="ADAL" clId="{D8C265B6-48C0-4DCB-8693-C44AF1BF226F}" dt="2023-03-03T08:13:37.336" v="1841" actId="1076"/>
          <ac:picMkLst>
            <pc:docMk/>
            <pc:sldMk cId="596822363" sldId="3943"/>
            <ac:picMk id="9" creationId="{56636CE7-23A5-44E9-0635-416E74EA5F6E}"/>
          </ac:picMkLst>
        </pc:picChg>
      </pc:sldChg>
      <pc:sldChg chg="addSp modSp new mod modNotesTx">
        <pc:chgData name="Isabelle LEBO" userId="f1c985e3-394e-48e8-9a67-d1528b48b78a" providerId="ADAL" clId="{D8C265B6-48C0-4DCB-8693-C44AF1BF226F}" dt="2023-03-03T08:58:15.067" v="2154" actId="207"/>
        <pc:sldMkLst>
          <pc:docMk/>
          <pc:sldMk cId="3065012018" sldId="3944"/>
        </pc:sldMkLst>
        <pc:spChg chg="mod">
          <ac:chgData name="Isabelle LEBO" userId="f1c985e3-394e-48e8-9a67-d1528b48b78a" providerId="ADAL" clId="{D8C265B6-48C0-4DCB-8693-C44AF1BF226F}" dt="2023-03-03T08:50:24.567" v="2075" actId="1076"/>
          <ac:spMkLst>
            <pc:docMk/>
            <pc:sldMk cId="3065012018" sldId="3944"/>
            <ac:spMk id="4" creationId="{63268C08-C49F-F43F-DB67-6F17B2E4E07C}"/>
          </ac:spMkLst>
        </pc:spChg>
        <pc:spChg chg="mod">
          <ac:chgData name="Isabelle LEBO" userId="f1c985e3-394e-48e8-9a67-d1528b48b78a" providerId="ADAL" clId="{D8C265B6-48C0-4DCB-8693-C44AF1BF226F}" dt="2023-03-03T08:58:15.067" v="2154" actId="207"/>
          <ac:spMkLst>
            <pc:docMk/>
            <pc:sldMk cId="3065012018" sldId="3944"/>
            <ac:spMk id="5" creationId="{59064968-61C7-BD49-8606-15C574A925A9}"/>
          </ac:spMkLst>
        </pc:spChg>
        <pc:picChg chg="add mod">
          <ac:chgData name="Isabelle LEBO" userId="f1c985e3-394e-48e8-9a67-d1528b48b78a" providerId="ADAL" clId="{D8C265B6-48C0-4DCB-8693-C44AF1BF226F}" dt="2023-03-03T08:50:40.250" v="2077" actId="1076"/>
          <ac:picMkLst>
            <pc:docMk/>
            <pc:sldMk cId="3065012018" sldId="3944"/>
            <ac:picMk id="7" creationId="{556E56E9-E78D-BE15-4421-9EE307728A9C}"/>
          </ac:picMkLst>
        </pc:picChg>
      </pc:sldChg>
      <pc:sldChg chg="new del">
        <pc:chgData name="Isabelle LEBO" userId="f1c985e3-394e-48e8-9a67-d1528b48b78a" providerId="ADAL" clId="{D8C265B6-48C0-4DCB-8693-C44AF1BF226F}" dt="2023-03-03T08:18:41.383" v="1893" actId="47"/>
        <pc:sldMkLst>
          <pc:docMk/>
          <pc:sldMk cId="3183220694" sldId="3944"/>
        </pc:sldMkLst>
      </pc:sldChg>
      <pc:sldChg chg="new del">
        <pc:chgData name="Isabelle LEBO" userId="f1c985e3-394e-48e8-9a67-d1528b48b78a" providerId="ADAL" clId="{D8C265B6-48C0-4DCB-8693-C44AF1BF226F}" dt="2023-03-03T08:18:38.896" v="1892" actId="47"/>
        <pc:sldMkLst>
          <pc:docMk/>
          <pc:sldMk cId="663146387" sldId="3945"/>
        </pc:sldMkLst>
      </pc:sldChg>
      <pc:sldChg chg="new del">
        <pc:chgData name="Isabelle LEBO" userId="f1c985e3-394e-48e8-9a67-d1528b48b78a" providerId="ADAL" clId="{D8C265B6-48C0-4DCB-8693-C44AF1BF226F}" dt="2023-03-03T08:18:42.232" v="1894" actId="47"/>
        <pc:sldMkLst>
          <pc:docMk/>
          <pc:sldMk cId="2517050381" sldId="3946"/>
        </pc:sldMkLst>
      </pc:sldChg>
      <pc:sldMasterChg chg="delSldLayout">
        <pc:chgData name="Isabelle LEBO" userId="f1c985e3-394e-48e8-9a67-d1528b48b78a" providerId="ADAL" clId="{D8C265B6-48C0-4DCB-8693-C44AF1BF226F}" dt="2023-03-03T08:47:37.429" v="2056" actId="47"/>
        <pc:sldMasterMkLst>
          <pc:docMk/>
          <pc:sldMasterMk cId="0" sldId="2147483648"/>
        </pc:sldMasterMkLst>
        <pc:sldLayoutChg chg="del">
          <pc:chgData name="Isabelle LEBO" userId="f1c985e3-394e-48e8-9a67-d1528b48b78a" providerId="ADAL" clId="{D8C265B6-48C0-4DCB-8693-C44AF1BF226F}" dt="2023-03-03T08:47:37.429" v="2056" actId="47"/>
          <pc:sldLayoutMkLst>
            <pc:docMk/>
            <pc:sldMasterMk cId="0" sldId="2147483648"/>
            <pc:sldLayoutMk cId="1756834565" sldId="2147483717"/>
          </pc:sldLayoutMkLst>
        </pc:sldLayoutChg>
      </pc:sldMasterChg>
      <pc:sldMasterChg chg="del delSldLayout">
        <pc:chgData name="Isabelle LEBO" userId="f1c985e3-394e-48e8-9a67-d1528b48b78a" providerId="ADAL" clId="{D8C265B6-48C0-4DCB-8693-C44AF1BF226F}" dt="2023-03-03T08:36:47.003" v="2005" actId="47"/>
        <pc:sldMasterMkLst>
          <pc:docMk/>
          <pc:sldMasterMk cId="0" sldId="2147483738"/>
        </pc:sldMasterMkLst>
        <pc:sldLayoutChg chg="del">
          <pc:chgData name="Isabelle LEBO" userId="f1c985e3-394e-48e8-9a67-d1528b48b78a" providerId="ADAL" clId="{D8C265B6-48C0-4DCB-8693-C44AF1BF226F}" dt="2023-03-03T08:36:47.003" v="2005" actId="47"/>
          <pc:sldLayoutMkLst>
            <pc:docMk/>
            <pc:sldMasterMk cId="0" sldId="2147483738"/>
            <pc:sldLayoutMk cId="0" sldId="2147483739"/>
          </pc:sldLayoutMkLst>
        </pc:sldLayoutChg>
      </pc:sldMasterChg>
    </pc:docChg>
  </pc:docChgLst>
  <pc:docChgLst>
    <pc:chgData name="Isabelle LEBO" userId="S::ma4349@bpifrance.fr::f1c985e3-394e-48e8-9a67-d1528b48b78a" providerId="AD" clId="Web-{01F981E8-0CA9-46BD-9302-9D8FE1E61AA0}"/>
    <pc:docChg chg="modSld">
      <pc:chgData name="Isabelle LEBO" userId="S::ma4349@bpifrance.fr::f1c985e3-394e-48e8-9a67-d1528b48b78a" providerId="AD" clId="Web-{01F981E8-0CA9-46BD-9302-9D8FE1E61AA0}" dt="2023-03-13T11:40:40.423" v="74"/>
      <pc:docMkLst>
        <pc:docMk/>
      </pc:docMkLst>
      <pc:sldChg chg="modSp">
        <pc:chgData name="Isabelle LEBO" userId="S::ma4349@bpifrance.fr::f1c985e3-394e-48e8-9a67-d1528b48b78a" providerId="AD" clId="Web-{01F981E8-0CA9-46BD-9302-9D8FE1E61AA0}" dt="2023-03-13T11:39:02.669" v="67" actId="1076"/>
        <pc:sldMkLst>
          <pc:docMk/>
          <pc:sldMk cId="0" sldId="273"/>
        </pc:sldMkLst>
        <pc:spChg chg="mod">
          <ac:chgData name="Isabelle LEBO" userId="S::ma4349@bpifrance.fr::f1c985e3-394e-48e8-9a67-d1528b48b78a" providerId="AD" clId="Web-{01F981E8-0CA9-46BD-9302-9D8FE1E61AA0}" dt="2023-03-13T11:39:02.669" v="67" actId="1076"/>
          <ac:spMkLst>
            <pc:docMk/>
            <pc:sldMk cId="0" sldId="273"/>
            <ac:spMk id="65" creationId="{BAC28798-D3F3-1F22-4EFB-EC2821F5ABA0}"/>
          </ac:spMkLst>
        </pc:spChg>
      </pc:sldChg>
      <pc:sldChg chg="modSp">
        <pc:chgData name="Isabelle LEBO" userId="S::ma4349@bpifrance.fr::f1c985e3-394e-48e8-9a67-d1528b48b78a" providerId="AD" clId="Web-{01F981E8-0CA9-46BD-9302-9D8FE1E61AA0}" dt="2023-03-13T11:32:14.543" v="8" actId="20577"/>
        <pc:sldMkLst>
          <pc:docMk/>
          <pc:sldMk cId="3133806753" sldId="343"/>
        </pc:sldMkLst>
        <pc:spChg chg="mod">
          <ac:chgData name="Isabelle LEBO" userId="S::ma4349@bpifrance.fr::f1c985e3-394e-48e8-9a67-d1528b48b78a" providerId="AD" clId="Web-{01F981E8-0CA9-46BD-9302-9D8FE1E61AA0}" dt="2023-03-13T11:32:14.543" v="8" actId="20577"/>
          <ac:spMkLst>
            <pc:docMk/>
            <pc:sldMk cId="3133806753" sldId="343"/>
            <ac:spMk id="5" creationId="{00000000-0000-0000-0000-000000000000}"/>
          </ac:spMkLst>
        </pc:spChg>
      </pc:sldChg>
      <pc:sldChg chg="modSp">
        <pc:chgData name="Isabelle LEBO" userId="S::ma4349@bpifrance.fr::f1c985e3-394e-48e8-9a67-d1528b48b78a" providerId="AD" clId="Web-{01F981E8-0CA9-46BD-9302-9D8FE1E61AA0}" dt="2023-03-13T11:34:40.986" v="30" actId="20577"/>
        <pc:sldMkLst>
          <pc:docMk/>
          <pc:sldMk cId="483477197" sldId="350"/>
        </pc:sldMkLst>
        <pc:spChg chg="mod">
          <ac:chgData name="Isabelle LEBO" userId="S::ma4349@bpifrance.fr::f1c985e3-394e-48e8-9a67-d1528b48b78a" providerId="AD" clId="Web-{01F981E8-0CA9-46BD-9302-9D8FE1E61AA0}" dt="2023-03-13T11:34:40.986" v="30" actId="20577"/>
          <ac:spMkLst>
            <pc:docMk/>
            <pc:sldMk cId="483477197" sldId="350"/>
            <ac:spMk id="4" creationId="{BC39DF67-23E9-E4D1-B424-292A7F7FEE57}"/>
          </ac:spMkLst>
        </pc:spChg>
      </pc:sldChg>
      <pc:sldChg chg="modSp">
        <pc:chgData name="Isabelle LEBO" userId="S::ma4349@bpifrance.fr::f1c985e3-394e-48e8-9a67-d1528b48b78a" providerId="AD" clId="Web-{01F981E8-0CA9-46BD-9302-9D8FE1E61AA0}" dt="2023-03-13T11:35:46.958" v="40" actId="20577"/>
        <pc:sldMkLst>
          <pc:docMk/>
          <pc:sldMk cId="274459055" sldId="356"/>
        </pc:sldMkLst>
        <pc:spChg chg="mod">
          <ac:chgData name="Isabelle LEBO" userId="S::ma4349@bpifrance.fr::f1c985e3-394e-48e8-9a67-d1528b48b78a" providerId="AD" clId="Web-{01F981E8-0CA9-46BD-9302-9D8FE1E61AA0}" dt="2023-03-13T11:35:46.958" v="40" actId="20577"/>
          <ac:spMkLst>
            <pc:docMk/>
            <pc:sldMk cId="274459055" sldId="356"/>
            <ac:spMk id="6" creationId="{E7BC887F-329E-4C60-8513-5DE73A91CD51}"/>
          </ac:spMkLst>
        </pc:spChg>
        <pc:spChg chg="mod">
          <ac:chgData name="Isabelle LEBO" userId="S::ma4349@bpifrance.fr::f1c985e3-394e-48e8-9a67-d1528b48b78a" providerId="AD" clId="Web-{01F981E8-0CA9-46BD-9302-9D8FE1E61AA0}" dt="2023-03-13T11:35:33.989" v="37" actId="1076"/>
          <ac:spMkLst>
            <pc:docMk/>
            <pc:sldMk cId="274459055" sldId="356"/>
            <ac:spMk id="9" creationId="{F044A8CF-CAD2-68C6-5DA2-BDF4002F5A67}"/>
          </ac:spMkLst>
        </pc:spChg>
      </pc:sldChg>
      <pc:sldChg chg="modSp">
        <pc:chgData name="Isabelle LEBO" userId="S::ma4349@bpifrance.fr::f1c985e3-394e-48e8-9a67-d1528b48b78a" providerId="AD" clId="Web-{01F981E8-0CA9-46BD-9302-9D8FE1E61AA0}" dt="2023-03-13T11:37:52.744" v="53"/>
        <pc:sldMkLst>
          <pc:docMk/>
          <pc:sldMk cId="3123742323" sldId="359"/>
        </pc:sldMkLst>
        <pc:spChg chg="mod">
          <ac:chgData name="Isabelle LEBO" userId="S::ma4349@bpifrance.fr::f1c985e3-394e-48e8-9a67-d1528b48b78a" providerId="AD" clId="Web-{01F981E8-0CA9-46BD-9302-9D8FE1E61AA0}" dt="2023-03-13T11:37:52.744" v="53"/>
          <ac:spMkLst>
            <pc:docMk/>
            <pc:sldMk cId="3123742323" sldId="359"/>
            <ac:spMk id="12" creationId="{9C7726F7-CB10-4FFB-9C95-4CF7F14B681A}"/>
          </ac:spMkLst>
        </pc:spChg>
      </pc:sldChg>
      <pc:sldChg chg="modSp">
        <pc:chgData name="Isabelle LEBO" userId="S::ma4349@bpifrance.fr::f1c985e3-394e-48e8-9a67-d1528b48b78a" providerId="AD" clId="Web-{01F981E8-0CA9-46BD-9302-9D8FE1E61AA0}" dt="2023-03-13T11:35:21.144" v="35"/>
        <pc:sldMkLst>
          <pc:docMk/>
          <pc:sldMk cId="1394747852" sldId="1596"/>
        </pc:sldMkLst>
        <pc:spChg chg="mod">
          <ac:chgData name="Isabelle LEBO" userId="S::ma4349@bpifrance.fr::f1c985e3-394e-48e8-9a67-d1528b48b78a" providerId="AD" clId="Web-{01F981E8-0CA9-46BD-9302-9D8FE1E61AA0}" dt="2023-03-13T11:35:21.144" v="35"/>
          <ac:spMkLst>
            <pc:docMk/>
            <pc:sldMk cId="1394747852" sldId="1596"/>
            <ac:spMk id="8" creationId="{A1587FFC-FF80-A442-C2CD-DBB90E35C2FE}"/>
          </ac:spMkLst>
        </pc:spChg>
      </pc:sldChg>
      <pc:sldChg chg="addSp delSp modSp">
        <pc:chgData name="Isabelle LEBO" userId="S::ma4349@bpifrance.fr::f1c985e3-394e-48e8-9a67-d1528b48b78a" providerId="AD" clId="Web-{01F981E8-0CA9-46BD-9302-9D8FE1E61AA0}" dt="2023-03-13T11:38:23.230" v="56"/>
        <pc:sldMkLst>
          <pc:docMk/>
          <pc:sldMk cId="596822363" sldId="3943"/>
        </pc:sldMkLst>
        <pc:spChg chg="mod">
          <ac:chgData name="Isabelle LEBO" userId="S::ma4349@bpifrance.fr::f1c985e3-394e-48e8-9a67-d1528b48b78a" providerId="AD" clId="Web-{01F981E8-0CA9-46BD-9302-9D8FE1E61AA0}" dt="2023-03-13T11:38:23.230" v="56"/>
          <ac:spMkLst>
            <pc:docMk/>
            <pc:sldMk cId="596822363" sldId="3943"/>
            <ac:spMk id="4" creationId="{263FC635-0A05-D810-BC18-64A2ABDCD6D0}"/>
          </ac:spMkLst>
        </pc:spChg>
        <pc:spChg chg="mod">
          <ac:chgData name="Isabelle LEBO" userId="S::ma4349@bpifrance.fr::f1c985e3-394e-48e8-9a67-d1528b48b78a" providerId="AD" clId="Web-{01F981E8-0CA9-46BD-9302-9D8FE1E61AA0}" dt="2023-03-13T11:36:49.476" v="45" actId="1076"/>
          <ac:spMkLst>
            <pc:docMk/>
            <pc:sldMk cId="596822363" sldId="3943"/>
            <ac:spMk id="5" creationId="{4AB8920A-1B90-AE1D-7E56-EBA35AF44822}"/>
          </ac:spMkLst>
        </pc:spChg>
        <pc:spChg chg="mod">
          <ac:chgData name="Isabelle LEBO" userId="S::ma4349@bpifrance.fr::f1c985e3-394e-48e8-9a67-d1528b48b78a" providerId="AD" clId="Web-{01F981E8-0CA9-46BD-9302-9D8FE1E61AA0}" dt="2023-03-13T11:36:49.523" v="46" actId="1076"/>
          <ac:spMkLst>
            <pc:docMk/>
            <pc:sldMk cId="596822363" sldId="3943"/>
            <ac:spMk id="7" creationId="{8E513475-71FD-DD39-6F7D-C0BB12721F0A}"/>
          </ac:spMkLst>
        </pc:spChg>
        <pc:spChg chg="add del mod">
          <ac:chgData name="Isabelle LEBO" userId="S::ma4349@bpifrance.fr::f1c985e3-394e-48e8-9a67-d1528b48b78a" providerId="AD" clId="Web-{01F981E8-0CA9-46BD-9302-9D8FE1E61AA0}" dt="2023-03-13T11:36:38.788" v="44"/>
          <ac:spMkLst>
            <pc:docMk/>
            <pc:sldMk cId="596822363" sldId="3943"/>
            <ac:spMk id="9" creationId="{8C4744F5-0B8C-29CC-29AB-AD5A174A780D}"/>
          </ac:spMkLst>
        </pc:spChg>
        <pc:spChg chg="mod">
          <ac:chgData name="Isabelle LEBO" userId="S::ma4349@bpifrance.fr::f1c985e3-394e-48e8-9a67-d1528b48b78a" providerId="AD" clId="Web-{01F981E8-0CA9-46BD-9302-9D8FE1E61AA0}" dt="2023-03-13T11:36:49.570" v="47" actId="1076"/>
          <ac:spMkLst>
            <pc:docMk/>
            <pc:sldMk cId="596822363" sldId="3943"/>
            <ac:spMk id="10" creationId="{1720A44C-B821-1537-473D-DF372D1A6E97}"/>
          </ac:spMkLst>
        </pc:spChg>
        <pc:spChg chg="add mod">
          <ac:chgData name="Isabelle LEBO" userId="S::ma4349@bpifrance.fr::f1c985e3-394e-48e8-9a67-d1528b48b78a" providerId="AD" clId="Web-{01F981E8-0CA9-46BD-9302-9D8FE1E61AA0}" dt="2023-03-13T11:37:26.962" v="52" actId="14100"/>
          <ac:spMkLst>
            <pc:docMk/>
            <pc:sldMk cId="596822363" sldId="3943"/>
            <ac:spMk id="11" creationId="{5E8E571F-49D7-884C-3D57-BCB473FE6378}"/>
          </ac:spMkLst>
        </pc:spChg>
      </pc:sldChg>
      <pc:sldChg chg="modSp">
        <pc:chgData name="Isabelle LEBO" userId="S::ma4349@bpifrance.fr::f1c985e3-394e-48e8-9a67-d1528b48b78a" providerId="AD" clId="Web-{01F981E8-0CA9-46BD-9302-9D8FE1E61AA0}" dt="2023-03-13T11:39:36.045" v="69" actId="1076"/>
        <pc:sldMkLst>
          <pc:docMk/>
          <pc:sldMk cId="3065012018" sldId="3944"/>
        </pc:sldMkLst>
        <pc:spChg chg="mod">
          <ac:chgData name="Isabelle LEBO" userId="S::ma4349@bpifrance.fr::f1c985e3-394e-48e8-9a67-d1528b48b78a" providerId="AD" clId="Web-{01F981E8-0CA9-46BD-9302-9D8FE1E61AA0}" dt="2023-03-13T11:39:36.045" v="69" actId="1076"/>
          <ac:spMkLst>
            <pc:docMk/>
            <pc:sldMk cId="3065012018" sldId="3944"/>
            <ac:spMk id="4" creationId="{63268C08-C49F-F43F-DB67-6F17B2E4E07C}"/>
          </ac:spMkLst>
        </pc:spChg>
      </pc:sldChg>
      <pc:sldChg chg="modSp">
        <pc:chgData name="Isabelle LEBO" userId="S::ma4349@bpifrance.fr::f1c985e3-394e-48e8-9a67-d1528b48b78a" providerId="AD" clId="Web-{01F981E8-0CA9-46BD-9302-9D8FE1E61AA0}" dt="2023-03-13T11:40:13.469" v="73" actId="14100"/>
        <pc:sldMkLst>
          <pc:docMk/>
          <pc:sldMk cId="2678454503" sldId="3950"/>
        </pc:sldMkLst>
        <pc:spChg chg="mod">
          <ac:chgData name="Isabelle LEBO" userId="S::ma4349@bpifrance.fr::f1c985e3-394e-48e8-9a67-d1528b48b78a" providerId="AD" clId="Web-{01F981E8-0CA9-46BD-9302-9D8FE1E61AA0}" dt="2023-03-13T11:39:54.858" v="71" actId="20577"/>
          <ac:spMkLst>
            <pc:docMk/>
            <pc:sldMk cId="2678454503" sldId="3950"/>
            <ac:spMk id="4" creationId="{5BE01512-1974-EFB2-7567-AEBB2CCC9266}"/>
          </ac:spMkLst>
        </pc:spChg>
        <pc:picChg chg="mod">
          <ac:chgData name="Isabelle LEBO" userId="S::ma4349@bpifrance.fr::f1c985e3-394e-48e8-9a67-d1528b48b78a" providerId="AD" clId="Web-{01F981E8-0CA9-46BD-9302-9D8FE1E61AA0}" dt="2023-03-13T11:40:13.469" v="73" actId="14100"/>
          <ac:picMkLst>
            <pc:docMk/>
            <pc:sldMk cId="2678454503" sldId="3950"/>
            <ac:picMk id="7" creationId="{61C6A18E-6FF5-FC1E-1A27-C930A40792D2}"/>
          </ac:picMkLst>
        </pc:picChg>
      </pc:sldChg>
      <pc:sldChg chg="modSp">
        <pc:chgData name="Isabelle LEBO" userId="S::ma4349@bpifrance.fr::f1c985e3-394e-48e8-9a67-d1528b48b78a" providerId="AD" clId="Web-{01F981E8-0CA9-46BD-9302-9D8FE1E61AA0}" dt="2023-03-13T11:38:08.542" v="55"/>
        <pc:sldMkLst>
          <pc:docMk/>
          <pc:sldMk cId="2997668331" sldId="3952"/>
        </pc:sldMkLst>
        <pc:spChg chg="mod">
          <ac:chgData name="Isabelle LEBO" userId="S::ma4349@bpifrance.fr::f1c985e3-394e-48e8-9a67-d1528b48b78a" providerId="AD" clId="Web-{01F981E8-0CA9-46BD-9302-9D8FE1E61AA0}" dt="2023-03-13T11:38:08.542" v="55"/>
          <ac:spMkLst>
            <pc:docMk/>
            <pc:sldMk cId="2997668331" sldId="3952"/>
            <ac:spMk id="4" creationId="{04A56F63-D71A-4738-977A-8539B39DA7E1}"/>
          </ac:spMkLst>
        </pc:spChg>
      </pc:sldChg>
      <pc:sldChg chg="addSp delSp modSp">
        <pc:chgData name="Isabelle LEBO" userId="S::ma4349@bpifrance.fr::f1c985e3-394e-48e8-9a67-d1528b48b78a" providerId="AD" clId="Web-{01F981E8-0CA9-46BD-9302-9D8FE1E61AA0}" dt="2023-03-13T11:32:31.981" v="10"/>
        <pc:sldMkLst>
          <pc:docMk/>
          <pc:sldMk cId="4045257331" sldId="3955"/>
        </pc:sldMkLst>
        <pc:spChg chg="add del mod">
          <ac:chgData name="Isabelle LEBO" userId="S::ma4349@bpifrance.fr::f1c985e3-394e-48e8-9a67-d1528b48b78a" providerId="AD" clId="Web-{01F981E8-0CA9-46BD-9302-9D8FE1E61AA0}" dt="2023-03-13T11:31:34.573" v="1"/>
          <ac:spMkLst>
            <pc:docMk/>
            <pc:sldMk cId="4045257331" sldId="3955"/>
            <ac:spMk id="5" creationId="{21ED72D4-A3B7-38BC-F354-4A26CADD8388}"/>
          </ac:spMkLst>
        </pc:spChg>
        <pc:spChg chg="add del mod">
          <ac:chgData name="Isabelle LEBO" userId="S::ma4349@bpifrance.fr::f1c985e3-394e-48e8-9a67-d1528b48b78a" providerId="AD" clId="Web-{01F981E8-0CA9-46BD-9302-9D8FE1E61AA0}" dt="2023-03-13T11:32:31.981" v="10"/>
          <ac:spMkLst>
            <pc:docMk/>
            <pc:sldMk cId="4045257331" sldId="3955"/>
            <ac:spMk id="11" creationId="{24265DF6-B698-9C9D-F017-73ED7789B825}"/>
          </ac:spMkLst>
        </pc:spChg>
      </pc:sldChg>
      <pc:sldChg chg="addSp delSp modSp">
        <pc:chgData name="Isabelle LEBO" userId="S::ma4349@bpifrance.fr::f1c985e3-394e-48e8-9a67-d1528b48b78a" providerId="AD" clId="Web-{01F981E8-0CA9-46BD-9302-9D8FE1E61AA0}" dt="2023-03-13T11:40:40.423" v="74"/>
        <pc:sldMkLst>
          <pc:docMk/>
          <pc:sldMk cId="2481201945" sldId="3956"/>
        </pc:sldMkLst>
        <pc:spChg chg="add del">
          <ac:chgData name="Isabelle LEBO" userId="S::ma4349@bpifrance.fr::f1c985e3-394e-48e8-9a67-d1528b48b78a" providerId="AD" clId="Web-{01F981E8-0CA9-46BD-9302-9D8FE1E61AA0}" dt="2023-03-13T11:40:40.423" v="74"/>
          <ac:spMkLst>
            <pc:docMk/>
            <pc:sldMk cId="2481201945" sldId="3956"/>
            <ac:spMk id="2" creationId="{E8E73601-9E6C-479E-8005-BF764F2F5416}"/>
          </ac:spMkLst>
        </pc:spChg>
        <pc:spChg chg="mod">
          <ac:chgData name="Isabelle LEBO" userId="S::ma4349@bpifrance.fr::f1c985e3-394e-48e8-9a67-d1528b48b78a" providerId="AD" clId="Web-{01F981E8-0CA9-46BD-9302-9D8FE1E61AA0}" dt="2023-03-13T11:33:44.640" v="25"/>
          <ac:spMkLst>
            <pc:docMk/>
            <pc:sldMk cId="2481201945" sldId="3956"/>
            <ac:spMk id="4" creationId="{21A11164-14C0-4872-8AC2-2E7F8399BF59}"/>
          </ac:spMkLst>
        </pc:spChg>
        <pc:spChg chg="add del">
          <ac:chgData name="Isabelle LEBO" userId="S::ma4349@bpifrance.fr::f1c985e3-394e-48e8-9a67-d1528b48b78a" providerId="AD" clId="Web-{01F981E8-0CA9-46BD-9302-9D8FE1E61AA0}" dt="2023-03-13T11:33:39.328" v="20"/>
          <ac:spMkLst>
            <pc:docMk/>
            <pc:sldMk cId="2481201945" sldId="3956"/>
            <ac:spMk id="6" creationId="{D478F173-3A81-455C-9FF6-A38294C37E5F}"/>
          </ac:spMkLst>
        </pc:spChg>
        <pc:spChg chg="add del">
          <ac:chgData name="Isabelle LEBO" userId="S::ma4349@bpifrance.fr::f1c985e3-394e-48e8-9a67-d1528b48b78a" providerId="AD" clId="Web-{01F981E8-0CA9-46BD-9302-9D8FE1E61AA0}" dt="2023-03-13T11:33:39.343" v="24"/>
          <ac:spMkLst>
            <pc:docMk/>
            <pc:sldMk cId="2481201945" sldId="3956"/>
            <ac:spMk id="34" creationId="{3F0B7F7F-82DE-44C2-BAA2-268E4A6AED7F}"/>
          </ac:spMkLst>
        </pc:spChg>
        <pc:grpChg chg="add del mod">
          <ac:chgData name="Isabelle LEBO" userId="S::ma4349@bpifrance.fr::f1c985e3-394e-48e8-9a67-d1528b48b78a" providerId="AD" clId="Web-{01F981E8-0CA9-46BD-9302-9D8FE1E61AA0}" dt="2023-03-13T11:33:50.437" v="26" actId="1076"/>
          <ac:grpSpMkLst>
            <pc:docMk/>
            <pc:sldMk cId="2481201945" sldId="3956"/>
            <ac:grpSpMk id="8" creationId="{AB400290-4224-4A0E-A802-434F079D1EBE}"/>
          </ac:grpSpMkLst>
        </pc:grpChg>
        <pc:grpChg chg="add del mod">
          <ac:chgData name="Isabelle LEBO" userId="S::ma4349@bpifrance.fr::f1c985e3-394e-48e8-9a67-d1528b48b78a" providerId="AD" clId="Web-{01F981E8-0CA9-46BD-9302-9D8FE1E61AA0}" dt="2023-03-13T11:33:55.250" v="27" actId="1076"/>
          <ac:grpSpMkLst>
            <pc:docMk/>
            <pc:sldMk cId="2481201945" sldId="3956"/>
            <ac:grpSpMk id="37" creationId="{8A903879-3290-4F22-A9D0-A998EEFE2995}"/>
          </ac:grpSpMkLst>
        </pc:grpChg>
        <pc:grpChg chg="add del mod">
          <ac:chgData name="Isabelle LEBO" userId="S::ma4349@bpifrance.fr::f1c985e3-394e-48e8-9a67-d1528b48b78a" providerId="AD" clId="Web-{01F981E8-0CA9-46BD-9302-9D8FE1E61AA0}" dt="2023-03-13T11:33:58.407" v="28" actId="1076"/>
          <ac:grpSpMkLst>
            <pc:docMk/>
            <pc:sldMk cId="2481201945" sldId="3956"/>
            <ac:grpSpMk id="41" creationId="{43E5EA06-4192-4582-BA6B-A77DE7834902}"/>
          </ac:grpSpMkLst>
        </pc:grpChg>
      </pc:sldChg>
    </pc:docChg>
  </pc:docChgLst>
  <pc:docChgLst>
    <pc:chgData name="Isabelle LEBO" userId="S::ma4349@bpifrance.fr::f1c985e3-394e-48e8-9a67-d1528b48b78a" providerId="AD" clId="Web-{A8B42830-538D-4FFD-96AF-84AB9DCF2547}"/>
    <pc:docChg chg="modSld">
      <pc:chgData name="Isabelle LEBO" userId="S::ma4349@bpifrance.fr::f1c985e3-394e-48e8-9a67-d1528b48b78a" providerId="AD" clId="Web-{A8B42830-538D-4FFD-96AF-84AB9DCF2547}" dt="2023-05-09T11:43:25.075" v="4"/>
      <pc:docMkLst>
        <pc:docMk/>
      </pc:docMkLst>
      <pc:sldChg chg="modSp">
        <pc:chgData name="Isabelle LEBO" userId="S::ma4349@bpifrance.fr::f1c985e3-394e-48e8-9a67-d1528b48b78a" providerId="AD" clId="Web-{A8B42830-538D-4FFD-96AF-84AB9DCF2547}" dt="2023-05-09T11:43:25.075" v="4"/>
        <pc:sldMkLst>
          <pc:docMk/>
          <pc:sldMk cId="2481201945" sldId="3956"/>
        </pc:sldMkLst>
        <pc:spChg chg="mod">
          <ac:chgData name="Isabelle LEBO" userId="S::ma4349@bpifrance.fr::f1c985e3-394e-48e8-9a67-d1528b48b78a" providerId="AD" clId="Web-{A8B42830-538D-4FFD-96AF-84AB9DCF2547}" dt="2023-05-09T11:42:55.901" v="1"/>
          <ac:spMkLst>
            <pc:docMk/>
            <pc:sldMk cId="2481201945" sldId="3956"/>
            <ac:spMk id="16" creationId="{BDC4D03D-4D91-474B-8AFB-375583E39C1E}"/>
          </ac:spMkLst>
        </pc:spChg>
        <pc:spChg chg="mod">
          <ac:chgData name="Isabelle LEBO" userId="S::ma4349@bpifrance.fr::f1c985e3-394e-48e8-9a67-d1528b48b78a" providerId="AD" clId="Web-{A8B42830-538D-4FFD-96AF-84AB9DCF2547}" dt="2023-05-09T11:43:25.075" v="4"/>
          <ac:spMkLst>
            <pc:docMk/>
            <pc:sldMk cId="2481201945" sldId="3956"/>
            <ac:spMk id="26" creationId="{0104FFE3-6676-4A63-8CC9-E35A42D1CB47}"/>
          </ac:spMkLst>
        </pc:spChg>
        <pc:spChg chg="mod">
          <ac:chgData name="Isabelle LEBO" userId="S::ma4349@bpifrance.fr::f1c985e3-394e-48e8-9a67-d1528b48b78a" providerId="AD" clId="Web-{A8B42830-538D-4FFD-96AF-84AB9DCF2547}" dt="2023-05-09T11:43:18.669" v="3"/>
          <ac:spMkLst>
            <pc:docMk/>
            <pc:sldMk cId="2481201945" sldId="3956"/>
            <ac:spMk id="29" creationId="{10C54B5B-F238-4663-9CAA-95413613C3F1}"/>
          </ac:spMkLst>
        </pc:spChg>
        <pc:spChg chg="mod">
          <ac:chgData name="Isabelle LEBO" userId="S::ma4349@bpifrance.fr::f1c985e3-394e-48e8-9a67-d1528b48b78a" providerId="AD" clId="Web-{A8B42830-538D-4FFD-96AF-84AB9DCF2547}" dt="2023-05-09T11:43:12.309" v="2"/>
          <ac:spMkLst>
            <pc:docMk/>
            <pc:sldMk cId="2481201945" sldId="3956"/>
            <ac:spMk id="30" creationId="{779E1340-A588-4DA8-BCBC-B874FB65965F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862" cy="495793"/>
          </a:xfrm>
          <a:prstGeom prst="rect">
            <a:avLst/>
          </a:prstGeom>
        </p:spPr>
        <p:txBody>
          <a:bodyPr vert="horz" lIns="88221" tIns="44111" rIns="88221" bIns="44111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0294" y="0"/>
            <a:ext cx="2945862" cy="495793"/>
          </a:xfrm>
          <a:prstGeom prst="rect">
            <a:avLst/>
          </a:prstGeom>
        </p:spPr>
        <p:txBody>
          <a:bodyPr vert="horz" lIns="88221" tIns="44111" rIns="88221" bIns="44111" rtlCol="0"/>
          <a:lstStyle>
            <a:lvl1pPr algn="r">
              <a:defRPr sz="1200"/>
            </a:lvl1pPr>
          </a:lstStyle>
          <a:p>
            <a:fld id="{674A3432-4227-FA4E-837C-DC1F71D1E4D1}" type="datetime1">
              <a:rPr lang="fr-FR" smtClean="0"/>
              <a:t>20/10/2023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9305"/>
            <a:ext cx="2945862" cy="495793"/>
          </a:xfrm>
          <a:prstGeom prst="rect">
            <a:avLst/>
          </a:prstGeom>
        </p:spPr>
        <p:txBody>
          <a:bodyPr vert="horz" lIns="88221" tIns="44111" rIns="88221" bIns="44111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294" y="9429305"/>
            <a:ext cx="2945862" cy="495793"/>
          </a:xfrm>
          <a:prstGeom prst="rect">
            <a:avLst/>
          </a:prstGeom>
        </p:spPr>
        <p:txBody>
          <a:bodyPr vert="horz" lIns="88221" tIns="44111" rIns="88221" bIns="44111" rtlCol="0" anchor="b"/>
          <a:lstStyle>
            <a:lvl1pPr algn="r">
              <a:defRPr sz="1200"/>
            </a:lvl1pPr>
          </a:lstStyle>
          <a:p>
            <a:fld id="{B207DC3C-1501-5146-9B2E-6B1ABB7D9A9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7885684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6332"/>
          </a:xfrm>
          <a:prstGeom prst="rect">
            <a:avLst/>
          </a:prstGeom>
        </p:spPr>
        <p:txBody>
          <a:bodyPr vert="horz" lIns="95562" tIns="47781" rIns="95562" bIns="47781" rtlCol="0"/>
          <a:lstStyle>
            <a:lvl1pPr algn="l">
              <a:defRPr sz="13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6332"/>
          </a:xfrm>
          <a:prstGeom prst="rect">
            <a:avLst/>
          </a:prstGeom>
        </p:spPr>
        <p:txBody>
          <a:bodyPr vert="horz" lIns="95562" tIns="47781" rIns="95562" bIns="47781" rtlCol="0"/>
          <a:lstStyle>
            <a:lvl1pPr algn="r">
              <a:defRPr sz="1300"/>
            </a:lvl1pPr>
          </a:lstStyle>
          <a:p>
            <a:fld id="{6D108AC9-F4C0-9B49-8615-5CD8273B6367}" type="datetime1">
              <a:rPr lang="fr-FR" smtClean="0"/>
              <a:t>20/10/202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62" tIns="47781" rIns="95562" bIns="47781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5562" tIns="47781" rIns="95562" bIns="47781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6332"/>
          </a:xfrm>
          <a:prstGeom prst="rect">
            <a:avLst/>
          </a:prstGeom>
        </p:spPr>
        <p:txBody>
          <a:bodyPr vert="horz" lIns="95562" tIns="47781" rIns="95562" bIns="47781" rtlCol="0" anchor="b"/>
          <a:lstStyle>
            <a:lvl1pPr algn="l">
              <a:defRPr sz="13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6332"/>
          </a:xfrm>
          <a:prstGeom prst="rect">
            <a:avLst/>
          </a:prstGeom>
        </p:spPr>
        <p:txBody>
          <a:bodyPr vert="horz" lIns="95562" tIns="47781" rIns="95562" bIns="47781" rtlCol="0" anchor="b"/>
          <a:lstStyle>
            <a:lvl1pPr algn="r">
              <a:defRPr sz="1300"/>
            </a:lvl1pPr>
          </a:lstStyle>
          <a:p>
            <a:fld id="{5686E92E-1CC9-49FE-85F2-4F6117653B4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71295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Source: </a:t>
            </a:r>
            <a:r>
              <a: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ttps://presse.bpifrance.fr/bilan-dactivite-de-bpifrance-2022/</a:t>
            </a:r>
          </a:p>
          <a:p>
            <a:endParaRPr lang="fr-FR"/>
          </a:p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86E92E-1CC9-49FE-85F2-4F6117653B4D}" type="slidenum">
              <a:rPr lang="fr-FR" smtClean="0"/>
              <a:pPr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438814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0.emf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ge de ga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 rotWithShape="1">
          <a:blip r:embed="rId2"/>
          <a:srcRect r="6279"/>
          <a:stretch/>
        </p:blipFill>
        <p:spPr>
          <a:xfrm>
            <a:off x="550" y="-45112"/>
            <a:ext cx="9906000" cy="6894492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25484" y="3403600"/>
            <a:ext cx="41275" cy="38100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25484" y="3403600"/>
            <a:ext cx="41275" cy="38100"/>
          </a:xfrm>
          <a:prstGeom prst="rect">
            <a:avLst/>
          </a:prstGeom>
        </p:spPr>
      </p:pic>
      <p:sp>
        <p:nvSpPr>
          <p:cNvPr id="25" name="Espace réservé du texte 24"/>
          <p:cNvSpPr>
            <a:spLocks noGrp="1"/>
          </p:cNvSpPr>
          <p:nvPr>
            <p:ph type="body" sz="quarter" idx="10" hasCustomPrompt="1"/>
          </p:nvPr>
        </p:nvSpPr>
        <p:spPr>
          <a:xfrm>
            <a:off x="1637636" y="3577270"/>
            <a:ext cx="7371523" cy="396044"/>
          </a:xfrm>
        </p:spPr>
        <p:txBody>
          <a:bodyPr/>
          <a:lstStyle>
            <a:lvl1pPr>
              <a:defRPr sz="3467" cap="all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TITRE</a:t>
            </a:r>
          </a:p>
        </p:txBody>
      </p:sp>
      <p:sp>
        <p:nvSpPr>
          <p:cNvPr id="27" name="Espace réservé du texte 26"/>
          <p:cNvSpPr>
            <a:spLocks noGrp="1"/>
          </p:cNvSpPr>
          <p:nvPr>
            <p:ph type="body" sz="quarter" idx="11" hasCustomPrompt="1"/>
          </p:nvPr>
        </p:nvSpPr>
        <p:spPr>
          <a:xfrm>
            <a:off x="1637247" y="4041782"/>
            <a:ext cx="7372209" cy="395337"/>
          </a:xfrm>
        </p:spPr>
        <p:txBody>
          <a:bodyPr/>
          <a:lstStyle>
            <a:lvl1pPr>
              <a:defRPr sz="3033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Sous-titre</a:t>
            </a:r>
          </a:p>
        </p:txBody>
      </p:sp>
      <p:sp>
        <p:nvSpPr>
          <p:cNvPr id="29" name="Espace réservé du texte 28"/>
          <p:cNvSpPr>
            <a:spLocks noGrp="1"/>
          </p:cNvSpPr>
          <p:nvPr>
            <p:ph type="body" sz="quarter" idx="12" hasCustomPrompt="1"/>
          </p:nvPr>
        </p:nvSpPr>
        <p:spPr>
          <a:xfrm>
            <a:off x="1637247" y="4468820"/>
            <a:ext cx="7372209" cy="396093"/>
          </a:xfrm>
        </p:spPr>
        <p:txBody>
          <a:bodyPr/>
          <a:lstStyle>
            <a:lvl1pPr>
              <a:defRPr sz="1950">
                <a:solidFill>
                  <a:srgbClr val="FFFFFF"/>
                </a:solidFill>
              </a:defRPr>
            </a:lvl1pPr>
          </a:lstStyle>
          <a:p>
            <a:pPr lvl="0"/>
            <a:r>
              <a:rPr lang="fr-FR"/>
              <a:t>00/00/00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EDC69966-E0BA-45E1-85DA-21B4DACBAF6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2860" y="404664"/>
            <a:ext cx="2458940" cy="720080"/>
          </a:xfrm>
          <a:prstGeom prst="rect">
            <a:avLst/>
          </a:prstGeom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2" userDrawn="1">
          <p15:clr>
            <a:srgbClr val="FBAE40"/>
          </p15:clr>
        </p15:guide>
        <p15:guide id="2" pos="1873" userDrawn="1">
          <p15:clr>
            <a:srgbClr val="FBAE40"/>
          </p15:clr>
        </p15:guide>
        <p15:guide id="3" orient="horz" pos="300" userDrawn="1">
          <p15:clr>
            <a:srgbClr val="FBAE40"/>
          </p15:clr>
        </p15:guide>
        <p15:guide id="4" pos="19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e titre + b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156018" y="6250680"/>
            <a:ext cx="425757" cy="500814"/>
          </a:xfrm>
        </p:spPr>
        <p:txBody>
          <a:bodyPr anchor="b" anchorCtr="0"/>
          <a:lstStyle>
            <a:lvl1pPr algn="r">
              <a:defRPr sz="1517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/>
              <a:t>00.</a:t>
            </a:r>
          </a:p>
        </p:txBody>
      </p:sp>
      <p:sp>
        <p:nvSpPr>
          <p:cNvPr id="10" name="Espace réservé du texte 11"/>
          <p:cNvSpPr>
            <a:spLocks noGrp="1"/>
          </p:cNvSpPr>
          <p:nvPr>
            <p:ph type="body" sz="quarter" idx="14" hasCustomPrompt="1"/>
          </p:nvPr>
        </p:nvSpPr>
        <p:spPr>
          <a:xfrm>
            <a:off x="662528" y="6250680"/>
            <a:ext cx="6708745" cy="500814"/>
          </a:xfrm>
        </p:spPr>
        <p:txBody>
          <a:bodyPr anchor="b" anchorCtr="0"/>
          <a:lstStyle>
            <a:lvl1pPr algn="l">
              <a:defRPr sz="1517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/>
              <a:t>Cliquez pour insérer le titre de chapitre</a:t>
            </a:r>
          </a:p>
        </p:txBody>
      </p:sp>
      <p:sp>
        <p:nvSpPr>
          <p:cNvPr id="11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379454" y="8620"/>
            <a:ext cx="9137054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/>
              <a:t>Cliquez pour modifier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5"/>
          </p:nvPr>
        </p:nvSpPr>
        <p:spPr>
          <a:xfrm>
            <a:off x="379802" y="1052482"/>
            <a:ext cx="4183154" cy="47846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graphique 3"/>
          <p:cNvSpPr>
            <a:spLocks noGrp="1"/>
          </p:cNvSpPr>
          <p:nvPr>
            <p:ph type="chart" sz="quarter" idx="16"/>
          </p:nvPr>
        </p:nvSpPr>
        <p:spPr>
          <a:xfrm>
            <a:off x="5289557" y="1052513"/>
            <a:ext cx="4212468" cy="4789487"/>
          </a:xfrm>
        </p:spPr>
        <p:txBody>
          <a:bodyPr/>
          <a:lstStyle/>
          <a:p>
            <a:endParaRPr lang="fr-FR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7" hasCustomPrompt="1"/>
          </p:nvPr>
        </p:nvSpPr>
        <p:spPr>
          <a:xfrm>
            <a:off x="5289155" y="1052744"/>
            <a:ext cx="4290880" cy="828675"/>
          </a:xfrm>
        </p:spPr>
        <p:txBody>
          <a:bodyPr/>
          <a:lstStyle>
            <a:lvl1pPr>
              <a:defRPr sz="1517">
                <a:solidFill>
                  <a:srgbClr val="5E514D"/>
                </a:solidFill>
              </a:defRPr>
            </a:lvl1pPr>
          </a:lstStyle>
          <a:p>
            <a:pPr lvl="0"/>
            <a:r>
              <a:rPr lang="fr-FR"/>
              <a:t>Titre du graphique</a:t>
            </a:r>
          </a:p>
        </p:txBody>
      </p:sp>
      <p:cxnSp>
        <p:nvCxnSpPr>
          <p:cNvPr id="15" name="Connecteur droit 14"/>
          <p:cNvCxnSpPr/>
          <p:nvPr userDrawn="1"/>
        </p:nvCxnSpPr>
        <p:spPr>
          <a:xfrm>
            <a:off x="5304039" y="1291396"/>
            <a:ext cx="4212468" cy="0"/>
          </a:xfrm>
          <a:prstGeom prst="line">
            <a:avLst/>
          </a:prstGeom>
          <a:ln w="28575" cap="rnd">
            <a:solidFill>
              <a:schemeClr val="tx2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9469456" y="6429211"/>
            <a:ext cx="710129" cy="312165"/>
          </a:xfrm>
          <a:prstGeom prst="rect">
            <a:avLst/>
          </a:prstGeom>
        </p:spPr>
        <p:txBody>
          <a:bodyPr/>
          <a:lstStyle>
            <a:lvl1pPr>
              <a:defRPr sz="1300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fld id="{19858401-1896-4F80-9B2B-186795E41C27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191643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e titre + b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156018" y="6250680"/>
            <a:ext cx="425757" cy="500814"/>
          </a:xfrm>
        </p:spPr>
        <p:txBody>
          <a:bodyPr anchor="b" anchorCtr="0"/>
          <a:lstStyle>
            <a:lvl1pPr algn="r">
              <a:defRPr sz="1517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/>
              <a:t>00.</a:t>
            </a:r>
          </a:p>
        </p:txBody>
      </p:sp>
      <p:sp>
        <p:nvSpPr>
          <p:cNvPr id="10" name="Espace réservé du texte 11"/>
          <p:cNvSpPr>
            <a:spLocks noGrp="1"/>
          </p:cNvSpPr>
          <p:nvPr>
            <p:ph type="body" sz="quarter" idx="14" hasCustomPrompt="1"/>
          </p:nvPr>
        </p:nvSpPr>
        <p:spPr>
          <a:xfrm>
            <a:off x="662528" y="6250680"/>
            <a:ext cx="6708745" cy="500814"/>
          </a:xfrm>
        </p:spPr>
        <p:txBody>
          <a:bodyPr anchor="b" anchorCtr="0"/>
          <a:lstStyle>
            <a:lvl1pPr algn="l">
              <a:defRPr sz="1517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/>
              <a:t>Cliquez pour insérer le titre de chapitre</a:t>
            </a:r>
          </a:p>
        </p:txBody>
      </p:sp>
      <p:sp>
        <p:nvSpPr>
          <p:cNvPr id="11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379454" y="8620"/>
            <a:ext cx="9137054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/>
              <a:t>Cliquez pour modifier le titre</a:t>
            </a:r>
          </a:p>
        </p:txBody>
      </p:sp>
      <p:sp>
        <p:nvSpPr>
          <p:cNvPr id="4" name="Espace réservé du graphique 3"/>
          <p:cNvSpPr>
            <a:spLocks noGrp="1"/>
          </p:cNvSpPr>
          <p:nvPr>
            <p:ph type="chart" sz="quarter" idx="16"/>
          </p:nvPr>
        </p:nvSpPr>
        <p:spPr>
          <a:xfrm>
            <a:off x="5289557" y="1052513"/>
            <a:ext cx="4212468" cy="4789487"/>
          </a:xfrm>
        </p:spPr>
        <p:txBody>
          <a:bodyPr/>
          <a:lstStyle/>
          <a:p>
            <a:endParaRPr lang="fr-FR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7" hasCustomPrompt="1"/>
          </p:nvPr>
        </p:nvSpPr>
        <p:spPr>
          <a:xfrm>
            <a:off x="5289155" y="1052744"/>
            <a:ext cx="4290880" cy="828675"/>
          </a:xfrm>
        </p:spPr>
        <p:txBody>
          <a:bodyPr/>
          <a:lstStyle>
            <a:lvl1pPr>
              <a:defRPr sz="1517">
                <a:solidFill>
                  <a:srgbClr val="5E514D"/>
                </a:solidFill>
              </a:defRPr>
            </a:lvl1pPr>
          </a:lstStyle>
          <a:p>
            <a:pPr lvl="0"/>
            <a:r>
              <a:rPr lang="fr-FR"/>
              <a:t>Titre du graphique</a:t>
            </a:r>
          </a:p>
        </p:txBody>
      </p:sp>
      <p:cxnSp>
        <p:nvCxnSpPr>
          <p:cNvPr id="15" name="Connecteur droit 14"/>
          <p:cNvCxnSpPr/>
          <p:nvPr userDrawn="1"/>
        </p:nvCxnSpPr>
        <p:spPr>
          <a:xfrm>
            <a:off x="5304039" y="1291396"/>
            <a:ext cx="4212468" cy="0"/>
          </a:xfrm>
          <a:prstGeom prst="line">
            <a:avLst/>
          </a:prstGeom>
          <a:ln w="28575" cap="rnd">
            <a:solidFill>
              <a:schemeClr val="tx2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u graphique 3"/>
          <p:cNvSpPr>
            <a:spLocks noGrp="1"/>
          </p:cNvSpPr>
          <p:nvPr>
            <p:ph type="chart" sz="quarter" idx="18"/>
          </p:nvPr>
        </p:nvSpPr>
        <p:spPr>
          <a:xfrm>
            <a:off x="389493" y="1052513"/>
            <a:ext cx="4212468" cy="4789487"/>
          </a:xfrm>
        </p:spPr>
        <p:txBody>
          <a:bodyPr/>
          <a:lstStyle/>
          <a:p>
            <a:endParaRPr lang="fr-FR"/>
          </a:p>
        </p:txBody>
      </p:sp>
      <p:sp>
        <p:nvSpPr>
          <p:cNvPr id="14" name="Espace réservé du texte 6"/>
          <p:cNvSpPr>
            <a:spLocks noGrp="1"/>
          </p:cNvSpPr>
          <p:nvPr>
            <p:ph type="body" sz="quarter" idx="19" hasCustomPrompt="1"/>
          </p:nvPr>
        </p:nvSpPr>
        <p:spPr>
          <a:xfrm>
            <a:off x="389091" y="1052744"/>
            <a:ext cx="4290880" cy="828675"/>
          </a:xfrm>
        </p:spPr>
        <p:txBody>
          <a:bodyPr/>
          <a:lstStyle>
            <a:lvl1pPr>
              <a:defRPr sz="1517">
                <a:solidFill>
                  <a:srgbClr val="5E514D"/>
                </a:solidFill>
              </a:defRPr>
            </a:lvl1pPr>
          </a:lstStyle>
          <a:p>
            <a:pPr lvl="0"/>
            <a:r>
              <a:rPr lang="fr-FR"/>
              <a:t>Titre du graphique</a:t>
            </a:r>
          </a:p>
        </p:txBody>
      </p:sp>
      <p:cxnSp>
        <p:nvCxnSpPr>
          <p:cNvPr id="16" name="Connecteur droit 15"/>
          <p:cNvCxnSpPr/>
          <p:nvPr userDrawn="1"/>
        </p:nvCxnSpPr>
        <p:spPr>
          <a:xfrm>
            <a:off x="403975" y="1291396"/>
            <a:ext cx="4212468" cy="0"/>
          </a:xfrm>
          <a:prstGeom prst="line">
            <a:avLst/>
          </a:prstGeom>
          <a:ln w="28575" cap="rnd">
            <a:solidFill>
              <a:schemeClr val="tx2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9469456" y="6429211"/>
            <a:ext cx="710129" cy="312165"/>
          </a:xfrm>
          <a:prstGeom prst="rect">
            <a:avLst/>
          </a:prstGeom>
        </p:spPr>
        <p:txBody>
          <a:bodyPr/>
          <a:lstStyle>
            <a:lvl1pPr>
              <a:defRPr sz="1300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fld id="{19858401-1896-4F80-9B2B-186795E41C27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980392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e titre + b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156018" y="6250680"/>
            <a:ext cx="425757" cy="500814"/>
          </a:xfrm>
        </p:spPr>
        <p:txBody>
          <a:bodyPr anchor="b" anchorCtr="0"/>
          <a:lstStyle>
            <a:lvl1pPr algn="r">
              <a:defRPr sz="1517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/>
              <a:t>00.</a:t>
            </a:r>
          </a:p>
        </p:txBody>
      </p:sp>
      <p:sp>
        <p:nvSpPr>
          <p:cNvPr id="10" name="Espace réservé du texte 11"/>
          <p:cNvSpPr>
            <a:spLocks noGrp="1"/>
          </p:cNvSpPr>
          <p:nvPr>
            <p:ph type="body" sz="quarter" idx="14" hasCustomPrompt="1"/>
          </p:nvPr>
        </p:nvSpPr>
        <p:spPr>
          <a:xfrm>
            <a:off x="662528" y="6250680"/>
            <a:ext cx="6708745" cy="500814"/>
          </a:xfrm>
        </p:spPr>
        <p:txBody>
          <a:bodyPr anchor="b" anchorCtr="0"/>
          <a:lstStyle>
            <a:lvl1pPr algn="l">
              <a:defRPr sz="1517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/>
              <a:t>Cliquez pour insérer le titre de chapitre</a:t>
            </a:r>
          </a:p>
        </p:txBody>
      </p:sp>
      <p:sp>
        <p:nvSpPr>
          <p:cNvPr id="11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379454" y="8620"/>
            <a:ext cx="9137054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/>
              <a:t>Cliquez pour modifier le titre</a:t>
            </a:r>
          </a:p>
        </p:txBody>
      </p:sp>
      <p:sp>
        <p:nvSpPr>
          <p:cNvPr id="13" name="Espace réservé du graphique 3"/>
          <p:cNvSpPr>
            <a:spLocks noGrp="1"/>
          </p:cNvSpPr>
          <p:nvPr>
            <p:ph type="chart" sz="quarter" idx="18"/>
          </p:nvPr>
        </p:nvSpPr>
        <p:spPr>
          <a:xfrm>
            <a:off x="389493" y="1052513"/>
            <a:ext cx="9127014" cy="4789487"/>
          </a:xfrm>
        </p:spPr>
        <p:txBody>
          <a:bodyPr/>
          <a:lstStyle/>
          <a:p>
            <a:endParaRPr lang="fr-FR"/>
          </a:p>
        </p:txBody>
      </p:sp>
      <p:sp>
        <p:nvSpPr>
          <p:cNvPr id="14" name="Espace réservé du texte 6"/>
          <p:cNvSpPr>
            <a:spLocks noGrp="1"/>
          </p:cNvSpPr>
          <p:nvPr>
            <p:ph type="body" sz="quarter" idx="19" hasCustomPrompt="1"/>
          </p:nvPr>
        </p:nvSpPr>
        <p:spPr>
          <a:xfrm>
            <a:off x="389091" y="1052744"/>
            <a:ext cx="4290880" cy="828675"/>
          </a:xfrm>
        </p:spPr>
        <p:txBody>
          <a:bodyPr/>
          <a:lstStyle>
            <a:lvl1pPr>
              <a:defRPr sz="1517">
                <a:solidFill>
                  <a:srgbClr val="5E514D"/>
                </a:solidFill>
              </a:defRPr>
            </a:lvl1pPr>
          </a:lstStyle>
          <a:p>
            <a:pPr lvl="0"/>
            <a:r>
              <a:rPr lang="fr-FR"/>
              <a:t>Titre du graphique</a:t>
            </a:r>
          </a:p>
        </p:txBody>
      </p:sp>
      <p:cxnSp>
        <p:nvCxnSpPr>
          <p:cNvPr id="16" name="Connecteur droit 15"/>
          <p:cNvCxnSpPr/>
          <p:nvPr userDrawn="1"/>
        </p:nvCxnSpPr>
        <p:spPr>
          <a:xfrm>
            <a:off x="403975" y="1291396"/>
            <a:ext cx="9112532" cy="0"/>
          </a:xfrm>
          <a:prstGeom prst="line">
            <a:avLst/>
          </a:prstGeom>
          <a:ln w="28575" cap="rnd">
            <a:solidFill>
              <a:schemeClr val="tx2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9469456" y="6429211"/>
            <a:ext cx="710129" cy="312165"/>
          </a:xfrm>
          <a:prstGeom prst="rect">
            <a:avLst/>
          </a:prstGeom>
        </p:spPr>
        <p:txBody>
          <a:bodyPr/>
          <a:lstStyle>
            <a:lvl1pPr>
              <a:defRPr sz="1300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fld id="{19858401-1896-4F80-9B2B-186795E41C27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8642620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379457" y="8620"/>
            <a:ext cx="8502945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/>
              <a:t>Cliquez pour modifier le titre</a:t>
            </a:r>
          </a:p>
        </p:txBody>
      </p:sp>
      <p:sp>
        <p:nvSpPr>
          <p:cNvPr id="13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156018" y="6250680"/>
            <a:ext cx="425757" cy="500814"/>
          </a:xfrm>
        </p:spPr>
        <p:txBody>
          <a:bodyPr anchor="b" anchorCtr="0"/>
          <a:lstStyle>
            <a:lvl1pPr algn="r">
              <a:defRPr sz="1517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/>
              <a:t>00.</a:t>
            </a:r>
          </a:p>
        </p:txBody>
      </p:sp>
      <p:sp>
        <p:nvSpPr>
          <p:cNvPr id="14" name="Espace réservé du texte 11"/>
          <p:cNvSpPr>
            <a:spLocks noGrp="1"/>
          </p:cNvSpPr>
          <p:nvPr>
            <p:ph type="body" sz="quarter" idx="14" hasCustomPrompt="1"/>
          </p:nvPr>
        </p:nvSpPr>
        <p:spPr>
          <a:xfrm>
            <a:off x="662528" y="6250680"/>
            <a:ext cx="6708745" cy="500814"/>
          </a:xfrm>
        </p:spPr>
        <p:txBody>
          <a:bodyPr anchor="b" anchorCtr="0"/>
          <a:lstStyle>
            <a:lvl1pPr algn="l">
              <a:defRPr sz="1517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/>
              <a:t>Cliquez pour insérer le titre de chapitre</a:t>
            </a:r>
          </a:p>
        </p:txBody>
      </p:sp>
      <p:sp>
        <p:nvSpPr>
          <p:cNvPr id="6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9469456" y="6429211"/>
            <a:ext cx="710129" cy="312165"/>
          </a:xfrm>
          <a:prstGeom prst="rect">
            <a:avLst/>
          </a:prstGeom>
        </p:spPr>
        <p:txBody>
          <a:bodyPr/>
          <a:lstStyle>
            <a:lvl1pPr>
              <a:defRPr sz="1300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fld id="{19858401-1896-4F80-9B2B-186795E41C27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&amp;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ableau 11"/>
          <p:cNvSpPr>
            <a:spLocks noGrp="1"/>
          </p:cNvSpPr>
          <p:nvPr>
            <p:ph type="tbl" sz="quarter" idx="17" hasCustomPrompt="1"/>
          </p:nvPr>
        </p:nvSpPr>
        <p:spPr>
          <a:xfrm>
            <a:off x="370500" y="1771201"/>
            <a:ext cx="9165000" cy="4181925"/>
          </a:xfrm>
          <a:solidFill>
            <a:schemeClr val="tx2">
              <a:lumMod val="20000"/>
              <a:lumOff val="80000"/>
            </a:schemeClr>
          </a:solidFill>
        </p:spPr>
        <p:txBody>
          <a:bodyPr bIns="648000" anchor="ctr" anchorCtr="0"/>
          <a:lstStyle>
            <a:lvl1pPr algn="ctr">
              <a:spcAft>
                <a:spcPts val="0"/>
              </a:spcAft>
              <a:defRPr sz="1300"/>
            </a:lvl1pPr>
          </a:lstStyle>
          <a:p>
            <a:r>
              <a:rPr lang="fr-FR"/>
              <a:t>Tableau</a:t>
            </a:r>
          </a:p>
        </p:txBody>
      </p:sp>
      <p:sp>
        <p:nvSpPr>
          <p:cNvPr id="10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379454" y="8620"/>
            <a:ext cx="9137054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/>
              <a:t>Cliquez pour modifier le titre</a:t>
            </a:r>
          </a:p>
        </p:txBody>
      </p:sp>
      <p:sp>
        <p:nvSpPr>
          <p:cNvPr id="14" name="Espace réservé du texte 2"/>
          <p:cNvSpPr>
            <a:spLocks noGrp="1"/>
          </p:cNvSpPr>
          <p:nvPr>
            <p:ph type="body" sz="quarter" idx="26"/>
          </p:nvPr>
        </p:nvSpPr>
        <p:spPr>
          <a:xfrm>
            <a:off x="350837" y="1268767"/>
            <a:ext cx="9165670" cy="46805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156018" y="6250680"/>
            <a:ext cx="425757" cy="500814"/>
          </a:xfrm>
        </p:spPr>
        <p:txBody>
          <a:bodyPr anchor="b" anchorCtr="0"/>
          <a:lstStyle>
            <a:lvl1pPr algn="r">
              <a:defRPr sz="1517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/>
              <a:t>00.</a:t>
            </a:r>
          </a:p>
        </p:txBody>
      </p:sp>
      <p:sp>
        <p:nvSpPr>
          <p:cNvPr id="18" name="Espace réservé du texte 11"/>
          <p:cNvSpPr>
            <a:spLocks noGrp="1"/>
          </p:cNvSpPr>
          <p:nvPr>
            <p:ph type="body" sz="quarter" idx="14" hasCustomPrompt="1"/>
          </p:nvPr>
        </p:nvSpPr>
        <p:spPr>
          <a:xfrm>
            <a:off x="662528" y="6250680"/>
            <a:ext cx="6708745" cy="500814"/>
          </a:xfrm>
        </p:spPr>
        <p:txBody>
          <a:bodyPr anchor="b" anchorCtr="0"/>
          <a:lstStyle>
            <a:lvl1pPr algn="l">
              <a:defRPr sz="1517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/>
              <a:t>Cliquez pour insérer le titre de chapitre</a:t>
            </a:r>
          </a:p>
        </p:txBody>
      </p:sp>
      <p:sp>
        <p:nvSpPr>
          <p:cNvPr id="8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9469456" y="6429211"/>
            <a:ext cx="710129" cy="312165"/>
          </a:xfrm>
          <a:prstGeom prst="rect">
            <a:avLst/>
          </a:prstGeom>
        </p:spPr>
        <p:txBody>
          <a:bodyPr/>
          <a:lstStyle>
            <a:lvl1pPr>
              <a:defRPr sz="1300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fld id="{19858401-1896-4F80-9B2B-186795E41C27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&amp; chiffres import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Espace réservé du texte 21"/>
          <p:cNvSpPr>
            <a:spLocks noGrp="1"/>
          </p:cNvSpPr>
          <p:nvPr>
            <p:ph type="body" sz="quarter" idx="22"/>
          </p:nvPr>
        </p:nvSpPr>
        <p:spPr>
          <a:xfrm>
            <a:off x="3314818" y="3164972"/>
            <a:ext cx="2866500" cy="1338436"/>
          </a:xfrm>
          <a:solidFill>
            <a:srgbClr val="FFCD00"/>
          </a:solidFill>
        </p:spPr>
        <p:txBody>
          <a:bodyPr lIns="0" tIns="0" rIns="0" bIns="0" numCol="1" anchor="ctr" anchorCtr="0"/>
          <a:lstStyle>
            <a:lvl1pPr marL="304175" indent="0" algn="l">
              <a:spcAft>
                <a:spcPts val="650"/>
              </a:spcAft>
              <a:defRPr sz="2817" b="0" cap="all" baseline="0">
                <a:solidFill>
                  <a:schemeClr val="tx2"/>
                </a:solidFill>
              </a:defRPr>
            </a:lvl1pPr>
            <a:lvl2pPr marL="304175" indent="0" algn="l">
              <a:lnSpc>
                <a:spcPct val="100000"/>
              </a:lnSpc>
              <a:defRPr sz="1625" b="0" baseline="0">
                <a:solidFill>
                  <a:schemeClr val="tx2"/>
                </a:solidFill>
                <a:latin typeface="+mj-lt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2" name="Espace réservé du texte 21"/>
          <p:cNvSpPr>
            <a:spLocks noGrp="1"/>
          </p:cNvSpPr>
          <p:nvPr>
            <p:ph type="body" sz="quarter" idx="20"/>
          </p:nvPr>
        </p:nvSpPr>
        <p:spPr>
          <a:xfrm>
            <a:off x="3314818" y="1738537"/>
            <a:ext cx="5811000" cy="1324719"/>
          </a:xfrm>
          <a:ln w="12700">
            <a:solidFill>
              <a:srgbClr val="786E64"/>
            </a:solidFill>
          </a:ln>
        </p:spPr>
        <p:txBody>
          <a:bodyPr lIns="0" tIns="216000" rIns="0" bIns="0" numCol="2"/>
          <a:lstStyle>
            <a:lvl1pPr marL="304175" indent="0" algn="l">
              <a:spcAft>
                <a:spcPts val="650"/>
              </a:spcAft>
              <a:defRPr sz="3575" b="0"/>
            </a:lvl1pPr>
            <a:lvl2pPr marL="304175" indent="0" algn="l">
              <a:lnSpc>
                <a:spcPct val="100000"/>
              </a:lnSpc>
              <a:defRPr sz="1625" b="0" baseline="0">
                <a:latin typeface="+mj-lt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3" name="Espace réservé du texte 21"/>
          <p:cNvSpPr>
            <a:spLocks noGrp="1"/>
          </p:cNvSpPr>
          <p:nvPr>
            <p:ph type="body" sz="quarter" idx="21"/>
          </p:nvPr>
        </p:nvSpPr>
        <p:spPr>
          <a:xfrm>
            <a:off x="370499" y="1738536"/>
            <a:ext cx="2866500" cy="2764879"/>
          </a:xfrm>
          <a:solidFill>
            <a:srgbClr val="5E514D"/>
          </a:solidFill>
        </p:spPr>
        <p:txBody>
          <a:bodyPr lIns="0" tIns="216000" rIns="0" bIns="0" numCol="1"/>
          <a:lstStyle>
            <a:lvl1pPr marL="304175" indent="0" algn="l">
              <a:spcAft>
                <a:spcPts val="650"/>
              </a:spcAft>
              <a:defRPr sz="3575" b="0">
                <a:solidFill>
                  <a:schemeClr val="bg2"/>
                </a:solidFill>
              </a:defRPr>
            </a:lvl1pPr>
            <a:lvl2pPr marL="304175" indent="0" algn="l">
              <a:lnSpc>
                <a:spcPct val="100000"/>
              </a:lnSpc>
              <a:defRPr sz="1625" b="0" baseline="0">
                <a:solidFill>
                  <a:schemeClr val="bg2"/>
                </a:solidFill>
                <a:latin typeface="+mj-lt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5" name="Espace réservé du texte 21"/>
          <p:cNvSpPr>
            <a:spLocks noGrp="1"/>
          </p:cNvSpPr>
          <p:nvPr>
            <p:ph type="body" sz="quarter" idx="23"/>
          </p:nvPr>
        </p:nvSpPr>
        <p:spPr>
          <a:xfrm>
            <a:off x="6259318" y="3164972"/>
            <a:ext cx="2866500" cy="1338436"/>
          </a:xfrm>
          <a:solidFill>
            <a:schemeClr val="tx2"/>
          </a:solidFill>
        </p:spPr>
        <p:txBody>
          <a:bodyPr lIns="0" tIns="0" rIns="0" bIns="0" numCol="1" anchor="ctr" anchorCtr="0"/>
          <a:lstStyle>
            <a:lvl1pPr marL="304175" indent="0" algn="l">
              <a:spcAft>
                <a:spcPts val="0"/>
              </a:spcAft>
              <a:defRPr sz="3575" b="0">
                <a:solidFill>
                  <a:srgbClr val="FFFFFF"/>
                </a:solidFill>
              </a:defRPr>
            </a:lvl1pPr>
            <a:lvl2pPr marL="304175" indent="0" algn="l">
              <a:lnSpc>
                <a:spcPct val="100000"/>
              </a:lnSpc>
              <a:defRPr sz="1625" b="0" baseline="0">
                <a:solidFill>
                  <a:srgbClr val="FFFFFF"/>
                </a:solidFill>
                <a:latin typeface="+mj-lt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8" name="Espace réservé du texte 21"/>
          <p:cNvSpPr>
            <a:spLocks noGrp="1"/>
          </p:cNvSpPr>
          <p:nvPr>
            <p:ph type="body" sz="quarter" idx="24"/>
          </p:nvPr>
        </p:nvSpPr>
        <p:spPr>
          <a:xfrm>
            <a:off x="370499" y="4603991"/>
            <a:ext cx="2866500" cy="1338436"/>
          </a:xfrm>
          <a:solidFill>
            <a:schemeClr val="accent1"/>
          </a:solidFill>
        </p:spPr>
        <p:txBody>
          <a:bodyPr lIns="0" tIns="0" rIns="0" bIns="0" numCol="1" anchor="ctr" anchorCtr="0"/>
          <a:lstStyle>
            <a:lvl1pPr marL="304175" indent="0" algn="l">
              <a:spcAft>
                <a:spcPts val="0"/>
              </a:spcAft>
              <a:defRPr sz="3575" b="0">
                <a:solidFill>
                  <a:schemeClr val="bg1"/>
                </a:solidFill>
              </a:defRPr>
            </a:lvl1pPr>
            <a:lvl2pPr marL="304175" indent="0" algn="l">
              <a:lnSpc>
                <a:spcPct val="100000"/>
              </a:lnSpc>
              <a:defRPr sz="1625" b="0" baseline="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9" name="Espace réservé du texte 21"/>
          <p:cNvSpPr>
            <a:spLocks noGrp="1"/>
          </p:cNvSpPr>
          <p:nvPr>
            <p:ph type="body" sz="quarter" idx="25"/>
          </p:nvPr>
        </p:nvSpPr>
        <p:spPr>
          <a:xfrm>
            <a:off x="3314818" y="4603991"/>
            <a:ext cx="2866500" cy="1338436"/>
          </a:xfrm>
          <a:solidFill>
            <a:schemeClr val="bg1"/>
          </a:solidFill>
          <a:ln w="12700">
            <a:solidFill>
              <a:srgbClr val="786E64"/>
            </a:solidFill>
          </a:ln>
        </p:spPr>
        <p:txBody>
          <a:bodyPr lIns="0" tIns="0" rIns="0" bIns="0" numCol="1" anchor="ctr" anchorCtr="0"/>
          <a:lstStyle>
            <a:lvl1pPr marL="304175" indent="0" algn="l">
              <a:spcAft>
                <a:spcPts val="0"/>
              </a:spcAft>
              <a:defRPr sz="3575" b="0">
                <a:solidFill>
                  <a:schemeClr val="accent1"/>
                </a:solidFill>
              </a:defRPr>
            </a:lvl1pPr>
            <a:lvl2pPr marL="304175" indent="0" algn="l">
              <a:lnSpc>
                <a:spcPct val="100000"/>
              </a:lnSpc>
              <a:defRPr sz="1625" b="0" baseline="0"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4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379454" y="8620"/>
            <a:ext cx="9137054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/>
              <a:t>Cliquez pour modifier le titre</a:t>
            </a:r>
          </a:p>
        </p:txBody>
      </p:sp>
      <p:sp>
        <p:nvSpPr>
          <p:cNvPr id="17" name="Espace réservé du texte 2"/>
          <p:cNvSpPr>
            <a:spLocks noGrp="1"/>
          </p:cNvSpPr>
          <p:nvPr>
            <p:ph type="body" sz="quarter" idx="26"/>
          </p:nvPr>
        </p:nvSpPr>
        <p:spPr>
          <a:xfrm>
            <a:off x="385233" y="1268767"/>
            <a:ext cx="9165670" cy="46805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156018" y="6250680"/>
            <a:ext cx="425757" cy="500814"/>
          </a:xfrm>
        </p:spPr>
        <p:txBody>
          <a:bodyPr anchor="b" anchorCtr="0"/>
          <a:lstStyle>
            <a:lvl1pPr algn="r">
              <a:defRPr sz="1517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/>
              <a:t>00.</a:t>
            </a:r>
          </a:p>
        </p:txBody>
      </p:sp>
      <p:sp>
        <p:nvSpPr>
          <p:cNvPr id="19" name="Espace réservé du texte 11"/>
          <p:cNvSpPr>
            <a:spLocks noGrp="1"/>
          </p:cNvSpPr>
          <p:nvPr>
            <p:ph type="body" sz="quarter" idx="14" hasCustomPrompt="1"/>
          </p:nvPr>
        </p:nvSpPr>
        <p:spPr>
          <a:xfrm>
            <a:off x="662528" y="6250680"/>
            <a:ext cx="6708745" cy="500814"/>
          </a:xfrm>
        </p:spPr>
        <p:txBody>
          <a:bodyPr anchor="b" anchorCtr="0"/>
          <a:lstStyle>
            <a:lvl1pPr algn="l">
              <a:defRPr sz="1517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/>
              <a:t>Cliquez pour insérer le titre de chapitre</a:t>
            </a:r>
          </a:p>
        </p:txBody>
      </p:sp>
      <p:sp>
        <p:nvSpPr>
          <p:cNvPr id="13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9469456" y="6429211"/>
            <a:ext cx="710129" cy="312165"/>
          </a:xfrm>
          <a:prstGeom prst="rect">
            <a:avLst/>
          </a:prstGeom>
        </p:spPr>
        <p:txBody>
          <a:bodyPr/>
          <a:lstStyle>
            <a:lvl1pPr>
              <a:defRPr sz="1300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fld id="{19858401-1896-4F80-9B2B-186795E41C27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e &amp; chiffres import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Espace réservé du texte 21"/>
          <p:cNvSpPr>
            <a:spLocks noGrp="1"/>
          </p:cNvSpPr>
          <p:nvPr>
            <p:ph type="body" sz="quarter" idx="22"/>
          </p:nvPr>
        </p:nvSpPr>
        <p:spPr>
          <a:xfrm>
            <a:off x="3314818" y="3164972"/>
            <a:ext cx="2866500" cy="1338436"/>
          </a:xfrm>
          <a:solidFill>
            <a:schemeClr val="accent3"/>
          </a:solidFill>
        </p:spPr>
        <p:txBody>
          <a:bodyPr lIns="0" tIns="0" rIns="0" bIns="0" numCol="1" anchor="ctr" anchorCtr="0"/>
          <a:lstStyle>
            <a:lvl1pPr marL="304175" indent="0" algn="l">
              <a:spcAft>
                <a:spcPts val="650"/>
              </a:spcAft>
              <a:defRPr sz="2817" b="0" cap="all" baseline="0">
                <a:solidFill>
                  <a:srgbClr val="FFFFFF"/>
                </a:solidFill>
              </a:defRPr>
            </a:lvl1pPr>
            <a:lvl2pPr marL="304175" indent="0" algn="l">
              <a:lnSpc>
                <a:spcPct val="100000"/>
              </a:lnSpc>
              <a:defRPr sz="1625" b="0" baseline="0">
                <a:solidFill>
                  <a:srgbClr val="FFFFFF"/>
                </a:solidFill>
                <a:latin typeface="+mj-lt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2" name="Espace réservé du texte 21"/>
          <p:cNvSpPr>
            <a:spLocks noGrp="1"/>
          </p:cNvSpPr>
          <p:nvPr>
            <p:ph type="body" sz="quarter" idx="20"/>
          </p:nvPr>
        </p:nvSpPr>
        <p:spPr>
          <a:xfrm>
            <a:off x="3314818" y="1738537"/>
            <a:ext cx="5811000" cy="1324719"/>
          </a:xfrm>
          <a:solidFill>
            <a:schemeClr val="bg2"/>
          </a:solidFill>
          <a:ln w="12700">
            <a:solidFill>
              <a:srgbClr val="786E64"/>
            </a:solidFill>
          </a:ln>
        </p:spPr>
        <p:txBody>
          <a:bodyPr lIns="0" tIns="216000" rIns="0" bIns="0" numCol="2"/>
          <a:lstStyle>
            <a:lvl1pPr marL="304175" indent="0" algn="l">
              <a:spcAft>
                <a:spcPts val="650"/>
              </a:spcAft>
              <a:defRPr sz="3575" b="0">
                <a:solidFill>
                  <a:srgbClr val="FFFFFF"/>
                </a:solidFill>
              </a:defRPr>
            </a:lvl1pPr>
            <a:lvl2pPr marL="304175" indent="0" algn="l">
              <a:lnSpc>
                <a:spcPct val="100000"/>
              </a:lnSpc>
              <a:defRPr sz="1625" b="0" baseline="0">
                <a:latin typeface="+mj-lt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3" name="Espace réservé du texte 21"/>
          <p:cNvSpPr>
            <a:spLocks noGrp="1"/>
          </p:cNvSpPr>
          <p:nvPr>
            <p:ph type="body" sz="quarter" idx="21"/>
          </p:nvPr>
        </p:nvSpPr>
        <p:spPr>
          <a:xfrm>
            <a:off x="370499" y="1738536"/>
            <a:ext cx="2866500" cy="2764879"/>
          </a:xfrm>
          <a:solidFill>
            <a:srgbClr val="5E514D"/>
          </a:solidFill>
        </p:spPr>
        <p:txBody>
          <a:bodyPr lIns="0" tIns="216000" rIns="0" bIns="0" numCol="1"/>
          <a:lstStyle>
            <a:lvl1pPr marL="304175" indent="0" algn="l">
              <a:spcAft>
                <a:spcPts val="650"/>
              </a:spcAft>
              <a:defRPr sz="3575" b="0">
                <a:solidFill>
                  <a:schemeClr val="bg2"/>
                </a:solidFill>
              </a:defRPr>
            </a:lvl1pPr>
            <a:lvl2pPr marL="304175" indent="0" algn="l">
              <a:lnSpc>
                <a:spcPct val="100000"/>
              </a:lnSpc>
              <a:defRPr sz="1625" b="0" baseline="0">
                <a:solidFill>
                  <a:schemeClr val="bg2"/>
                </a:solidFill>
                <a:latin typeface="+mj-lt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5" name="Espace réservé du texte 21"/>
          <p:cNvSpPr>
            <a:spLocks noGrp="1"/>
          </p:cNvSpPr>
          <p:nvPr>
            <p:ph type="body" sz="quarter" idx="23"/>
          </p:nvPr>
        </p:nvSpPr>
        <p:spPr>
          <a:xfrm>
            <a:off x="6259318" y="3164972"/>
            <a:ext cx="2866500" cy="1338436"/>
          </a:xfrm>
          <a:solidFill>
            <a:schemeClr val="accent4"/>
          </a:solidFill>
        </p:spPr>
        <p:txBody>
          <a:bodyPr lIns="0" tIns="0" rIns="0" bIns="0" numCol="1" anchor="ctr" anchorCtr="0"/>
          <a:lstStyle>
            <a:lvl1pPr marL="304175" indent="0" algn="l">
              <a:spcAft>
                <a:spcPts val="0"/>
              </a:spcAft>
              <a:defRPr sz="3575" b="0">
                <a:solidFill>
                  <a:srgbClr val="FFFFFF"/>
                </a:solidFill>
              </a:defRPr>
            </a:lvl1pPr>
            <a:lvl2pPr marL="304175" indent="0" algn="l">
              <a:lnSpc>
                <a:spcPct val="100000"/>
              </a:lnSpc>
              <a:defRPr sz="1625" b="0" baseline="0">
                <a:solidFill>
                  <a:srgbClr val="FFFFFF"/>
                </a:solidFill>
                <a:latin typeface="+mj-lt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8" name="Espace réservé du texte 21"/>
          <p:cNvSpPr>
            <a:spLocks noGrp="1"/>
          </p:cNvSpPr>
          <p:nvPr>
            <p:ph type="body" sz="quarter" idx="24"/>
          </p:nvPr>
        </p:nvSpPr>
        <p:spPr>
          <a:xfrm>
            <a:off x="370499" y="4603991"/>
            <a:ext cx="2866500" cy="1338436"/>
          </a:xfrm>
          <a:solidFill>
            <a:schemeClr val="accent2"/>
          </a:solidFill>
        </p:spPr>
        <p:txBody>
          <a:bodyPr lIns="0" tIns="0" rIns="0" bIns="0" numCol="1" anchor="ctr" anchorCtr="0"/>
          <a:lstStyle>
            <a:lvl1pPr marL="304175" indent="0" algn="l">
              <a:spcAft>
                <a:spcPts val="0"/>
              </a:spcAft>
              <a:defRPr sz="3575" b="0">
                <a:solidFill>
                  <a:schemeClr val="bg1"/>
                </a:solidFill>
              </a:defRPr>
            </a:lvl1pPr>
            <a:lvl2pPr marL="304175" indent="0" algn="l">
              <a:lnSpc>
                <a:spcPct val="100000"/>
              </a:lnSpc>
              <a:defRPr sz="1625" b="0" baseline="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9" name="Espace réservé du texte 21"/>
          <p:cNvSpPr>
            <a:spLocks noGrp="1"/>
          </p:cNvSpPr>
          <p:nvPr>
            <p:ph type="body" sz="quarter" idx="25"/>
          </p:nvPr>
        </p:nvSpPr>
        <p:spPr>
          <a:xfrm>
            <a:off x="3314818" y="4603991"/>
            <a:ext cx="2866500" cy="1338436"/>
          </a:xfrm>
          <a:solidFill>
            <a:schemeClr val="bg1"/>
          </a:solidFill>
          <a:ln w="12700">
            <a:solidFill>
              <a:srgbClr val="786E64"/>
            </a:solidFill>
          </a:ln>
        </p:spPr>
        <p:txBody>
          <a:bodyPr lIns="0" tIns="0" rIns="0" bIns="0" numCol="1" anchor="ctr" anchorCtr="0"/>
          <a:lstStyle>
            <a:lvl1pPr marL="304175" indent="0" algn="l">
              <a:spcAft>
                <a:spcPts val="0"/>
              </a:spcAft>
              <a:defRPr sz="3575" b="0">
                <a:solidFill>
                  <a:schemeClr val="accent1"/>
                </a:solidFill>
              </a:defRPr>
            </a:lvl1pPr>
            <a:lvl2pPr marL="304175" indent="0" algn="l">
              <a:lnSpc>
                <a:spcPct val="100000"/>
              </a:lnSpc>
              <a:defRPr sz="1625" b="0" baseline="0"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4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379454" y="8620"/>
            <a:ext cx="9137054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/>
              <a:t>Cliquez pour modifier le titre</a:t>
            </a:r>
          </a:p>
        </p:txBody>
      </p:sp>
      <p:sp>
        <p:nvSpPr>
          <p:cNvPr id="17" name="Espace réservé du texte 2"/>
          <p:cNvSpPr>
            <a:spLocks noGrp="1"/>
          </p:cNvSpPr>
          <p:nvPr>
            <p:ph type="body" sz="quarter" idx="26"/>
          </p:nvPr>
        </p:nvSpPr>
        <p:spPr>
          <a:xfrm>
            <a:off x="385233" y="1268767"/>
            <a:ext cx="9165670" cy="46805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156018" y="6250680"/>
            <a:ext cx="425757" cy="500814"/>
          </a:xfrm>
        </p:spPr>
        <p:txBody>
          <a:bodyPr anchor="b" anchorCtr="0"/>
          <a:lstStyle>
            <a:lvl1pPr algn="r">
              <a:defRPr sz="1517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/>
              <a:t>00.</a:t>
            </a:r>
          </a:p>
        </p:txBody>
      </p:sp>
      <p:sp>
        <p:nvSpPr>
          <p:cNvPr id="19" name="Espace réservé du texte 11"/>
          <p:cNvSpPr>
            <a:spLocks noGrp="1"/>
          </p:cNvSpPr>
          <p:nvPr>
            <p:ph type="body" sz="quarter" idx="14" hasCustomPrompt="1"/>
          </p:nvPr>
        </p:nvSpPr>
        <p:spPr>
          <a:xfrm>
            <a:off x="662528" y="6250680"/>
            <a:ext cx="6708745" cy="500814"/>
          </a:xfrm>
        </p:spPr>
        <p:txBody>
          <a:bodyPr anchor="b" anchorCtr="0"/>
          <a:lstStyle>
            <a:lvl1pPr algn="l">
              <a:defRPr sz="1517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/>
              <a:t>Cliquez pour insérer le titre de chapitre</a:t>
            </a:r>
          </a:p>
        </p:txBody>
      </p:sp>
      <p:sp>
        <p:nvSpPr>
          <p:cNvPr id="13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9469456" y="6429211"/>
            <a:ext cx="710129" cy="312165"/>
          </a:xfrm>
          <a:prstGeom prst="rect">
            <a:avLst/>
          </a:prstGeom>
        </p:spPr>
        <p:txBody>
          <a:bodyPr/>
          <a:lstStyle>
            <a:lvl1pPr>
              <a:defRPr sz="1300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fld id="{19858401-1896-4F80-9B2B-186795E41C27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727542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e &amp; chiffres import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379454" y="8620"/>
            <a:ext cx="9137054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/>
              <a:t>Cliquez pour modifier le titre</a:t>
            </a:r>
          </a:p>
        </p:txBody>
      </p:sp>
      <p:sp>
        <p:nvSpPr>
          <p:cNvPr id="17" name="Espace réservé du texte 2"/>
          <p:cNvSpPr>
            <a:spLocks noGrp="1"/>
          </p:cNvSpPr>
          <p:nvPr>
            <p:ph type="body" sz="quarter" idx="26"/>
          </p:nvPr>
        </p:nvSpPr>
        <p:spPr>
          <a:xfrm>
            <a:off x="385233" y="1268767"/>
            <a:ext cx="9165670" cy="46805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6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156018" y="6250680"/>
            <a:ext cx="425757" cy="500814"/>
          </a:xfrm>
        </p:spPr>
        <p:txBody>
          <a:bodyPr anchor="b" anchorCtr="0"/>
          <a:lstStyle>
            <a:lvl1pPr algn="r">
              <a:defRPr sz="1517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/>
              <a:t>00.</a:t>
            </a:r>
          </a:p>
        </p:txBody>
      </p:sp>
      <p:sp>
        <p:nvSpPr>
          <p:cNvPr id="37" name="Espace réservé du texte 11"/>
          <p:cNvSpPr>
            <a:spLocks noGrp="1"/>
          </p:cNvSpPr>
          <p:nvPr>
            <p:ph type="body" sz="quarter" idx="14" hasCustomPrompt="1"/>
          </p:nvPr>
        </p:nvSpPr>
        <p:spPr>
          <a:xfrm>
            <a:off x="662528" y="6250680"/>
            <a:ext cx="6708745" cy="500814"/>
          </a:xfrm>
        </p:spPr>
        <p:txBody>
          <a:bodyPr anchor="b" anchorCtr="0"/>
          <a:lstStyle>
            <a:lvl1pPr algn="l">
              <a:defRPr sz="1517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/>
              <a:t>Cliquez pour insérer le titre de chapitre</a:t>
            </a:r>
          </a:p>
        </p:txBody>
      </p:sp>
      <p:sp>
        <p:nvSpPr>
          <p:cNvPr id="23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9469456" y="6429211"/>
            <a:ext cx="710129" cy="312165"/>
          </a:xfrm>
          <a:prstGeom prst="rect">
            <a:avLst/>
          </a:prstGeom>
        </p:spPr>
        <p:txBody>
          <a:bodyPr/>
          <a:lstStyle>
            <a:lvl1pPr>
              <a:defRPr sz="1300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fld id="{19858401-1896-4F80-9B2B-186795E41C2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ED352006-6905-40BC-8AEE-8A6D662B327F}"/>
              </a:ext>
            </a:extLst>
          </p:cNvPr>
          <p:cNvSpPr/>
          <p:nvPr userDrawn="1"/>
        </p:nvSpPr>
        <p:spPr>
          <a:xfrm>
            <a:off x="431541" y="1880829"/>
            <a:ext cx="1898393" cy="189839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err="1">
              <a:solidFill>
                <a:schemeClr val="tx1"/>
              </a:solidFill>
            </a:endParaRP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186BC0CC-CCE5-44BF-9ACB-14117BC01563}"/>
              </a:ext>
            </a:extLst>
          </p:cNvPr>
          <p:cNvSpPr/>
          <p:nvPr userDrawn="1"/>
        </p:nvSpPr>
        <p:spPr>
          <a:xfrm>
            <a:off x="2555777" y="1880829"/>
            <a:ext cx="1898393" cy="1898393"/>
          </a:xfrm>
          <a:prstGeom prst="ellipse">
            <a:avLst/>
          </a:prstGeom>
          <a:solidFill>
            <a:srgbClr val="FFC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err="1">
              <a:solidFill>
                <a:schemeClr val="tx1"/>
              </a:solidFill>
            </a:endParaRPr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62C54668-8242-4D0E-8983-A5AF21752C5F}"/>
              </a:ext>
            </a:extLst>
          </p:cNvPr>
          <p:cNvSpPr/>
          <p:nvPr userDrawn="1"/>
        </p:nvSpPr>
        <p:spPr>
          <a:xfrm>
            <a:off x="4683286" y="1880829"/>
            <a:ext cx="1898393" cy="1898393"/>
          </a:xfrm>
          <a:prstGeom prst="ellipse">
            <a:avLst/>
          </a:prstGeom>
          <a:solidFill>
            <a:srgbClr val="FFC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err="1">
              <a:solidFill>
                <a:schemeClr val="tx1"/>
              </a:solidFill>
            </a:endParaRP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C78960D3-4CE1-4746-AFA5-CE52CBDDCBCB}"/>
              </a:ext>
            </a:extLst>
          </p:cNvPr>
          <p:cNvSpPr/>
          <p:nvPr userDrawn="1"/>
        </p:nvSpPr>
        <p:spPr>
          <a:xfrm>
            <a:off x="6814067" y="1880829"/>
            <a:ext cx="1898393" cy="189839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err="1">
              <a:solidFill>
                <a:schemeClr val="tx1"/>
              </a:solidFill>
            </a:endParaRPr>
          </a:p>
        </p:txBody>
      </p:sp>
      <p:sp>
        <p:nvSpPr>
          <p:cNvPr id="38" name="Ellipse 37">
            <a:extLst>
              <a:ext uri="{FF2B5EF4-FFF2-40B4-BE49-F238E27FC236}">
                <a16:creationId xmlns:a16="http://schemas.microsoft.com/office/drawing/2014/main" id="{59131C66-8D9E-467E-B7B9-1BBB7B69D904}"/>
              </a:ext>
            </a:extLst>
          </p:cNvPr>
          <p:cNvSpPr/>
          <p:nvPr userDrawn="1"/>
        </p:nvSpPr>
        <p:spPr>
          <a:xfrm>
            <a:off x="431541" y="3959242"/>
            <a:ext cx="1898393" cy="189839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err="1">
              <a:solidFill>
                <a:schemeClr val="tx1"/>
              </a:solidFill>
            </a:endParaRPr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2996BBCA-F0ED-4907-AA4E-C7CC8F3878C9}"/>
              </a:ext>
            </a:extLst>
          </p:cNvPr>
          <p:cNvSpPr/>
          <p:nvPr userDrawn="1"/>
        </p:nvSpPr>
        <p:spPr>
          <a:xfrm>
            <a:off x="2559050" y="3959242"/>
            <a:ext cx="1898393" cy="1898393"/>
          </a:xfrm>
          <a:prstGeom prst="ellipse">
            <a:avLst/>
          </a:prstGeom>
          <a:solidFill>
            <a:srgbClr val="FFC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err="1">
              <a:solidFill>
                <a:schemeClr val="tx1"/>
              </a:solidFill>
            </a:endParaRPr>
          </a:p>
        </p:txBody>
      </p:sp>
      <p:sp>
        <p:nvSpPr>
          <p:cNvPr id="40" name="Ellipse 39">
            <a:extLst>
              <a:ext uri="{FF2B5EF4-FFF2-40B4-BE49-F238E27FC236}">
                <a16:creationId xmlns:a16="http://schemas.microsoft.com/office/drawing/2014/main" id="{1437E138-D9FF-4A72-A730-215EF4009EE9}"/>
              </a:ext>
            </a:extLst>
          </p:cNvPr>
          <p:cNvSpPr/>
          <p:nvPr userDrawn="1"/>
        </p:nvSpPr>
        <p:spPr>
          <a:xfrm>
            <a:off x="4686559" y="3959242"/>
            <a:ext cx="1898393" cy="1898393"/>
          </a:xfrm>
          <a:prstGeom prst="ellipse">
            <a:avLst/>
          </a:prstGeom>
          <a:solidFill>
            <a:srgbClr val="786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err="1">
              <a:solidFill>
                <a:schemeClr val="tx1"/>
              </a:solidFill>
            </a:endParaRPr>
          </a:p>
        </p:txBody>
      </p:sp>
      <p:sp>
        <p:nvSpPr>
          <p:cNvPr id="41" name="Ellipse 40">
            <a:extLst>
              <a:ext uri="{FF2B5EF4-FFF2-40B4-BE49-F238E27FC236}">
                <a16:creationId xmlns:a16="http://schemas.microsoft.com/office/drawing/2014/main" id="{8D92D4F5-CA97-436B-ACBD-EE7B8C5975AF}"/>
              </a:ext>
            </a:extLst>
          </p:cNvPr>
          <p:cNvSpPr/>
          <p:nvPr userDrawn="1"/>
        </p:nvSpPr>
        <p:spPr>
          <a:xfrm>
            <a:off x="6814067" y="3959242"/>
            <a:ext cx="1898393" cy="1898393"/>
          </a:xfrm>
          <a:prstGeom prst="ellipse">
            <a:avLst/>
          </a:prstGeom>
          <a:solidFill>
            <a:srgbClr val="FFC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 err="1">
              <a:solidFill>
                <a:schemeClr val="tx1"/>
              </a:solidFill>
            </a:endParaRPr>
          </a:p>
        </p:txBody>
      </p:sp>
      <p:sp>
        <p:nvSpPr>
          <p:cNvPr id="42" name="Espace réservé du texte 21">
            <a:extLst>
              <a:ext uri="{FF2B5EF4-FFF2-40B4-BE49-F238E27FC236}">
                <a16:creationId xmlns:a16="http://schemas.microsoft.com/office/drawing/2014/main" id="{4ED2C5F6-3E6C-4375-8669-7A3CAB1BC14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31539" y="3969060"/>
            <a:ext cx="1908212" cy="1908212"/>
          </a:xfrm>
          <a:noFill/>
        </p:spPr>
        <p:txBody>
          <a:bodyPr lIns="0" tIns="0" rIns="0" bIns="0" numCol="1" anchor="ctr" anchorCtr="0"/>
          <a:lstStyle>
            <a:lvl1pPr marL="388783" indent="0" algn="l">
              <a:spcAft>
                <a:spcPts val="0"/>
              </a:spcAft>
              <a:defRPr sz="2799" b="0">
                <a:solidFill>
                  <a:schemeClr val="bg1"/>
                </a:solidFill>
              </a:defRPr>
            </a:lvl1pPr>
            <a:lvl2pPr marL="388783" indent="0" algn="l">
              <a:lnSpc>
                <a:spcPct val="100000"/>
              </a:lnSpc>
              <a:defRPr sz="1200" b="0" baseline="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43" name="Espace réservé du texte 21">
            <a:extLst>
              <a:ext uri="{FF2B5EF4-FFF2-40B4-BE49-F238E27FC236}">
                <a16:creationId xmlns:a16="http://schemas.microsoft.com/office/drawing/2014/main" id="{CAFEAA02-348E-40C8-994B-5BD4B13523A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840252" y="1844825"/>
            <a:ext cx="1872208" cy="1980220"/>
          </a:xfrm>
          <a:noFill/>
        </p:spPr>
        <p:txBody>
          <a:bodyPr lIns="0" tIns="216000" rIns="0" bIns="0" numCol="1" anchor="ctr" anchorCtr="0"/>
          <a:lstStyle>
            <a:lvl1pPr marL="388783" indent="0" algn="l">
              <a:spcAft>
                <a:spcPts val="599"/>
              </a:spcAft>
              <a:defRPr sz="2401" b="0">
                <a:solidFill>
                  <a:schemeClr val="bg2"/>
                </a:solidFill>
              </a:defRPr>
            </a:lvl1pPr>
            <a:lvl2pPr marL="388783" indent="0" algn="l">
              <a:lnSpc>
                <a:spcPct val="100000"/>
              </a:lnSpc>
              <a:defRPr sz="1101" b="0" baseline="0">
                <a:solidFill>
                  <a:schemeClr val="bg2"/>
                </a:solidFill>
                <a:latin typeface="+mj-lt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44" name="Espace réservé du texte 21">
            <a:extLst>
              <a:ext uri="{FF2B5EF4-FFF2-40B4-BE49-F238E27FC236}">
                <a16:creationId xmlns:a16="http://schemas.microsoft.com/office/drawing/2014/main" id="{79453736-0CD8-40FC-B691-10EC9C54968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804248" y="3933056"/>
            <a:ext cx="1944216" cy="1914500"/>
          </a:xfrm>
          <a:noFill/>
        </p:spPr>
        <p:txBody>
          <a:bodyPr lIns="0" tIns="0" rIns="0" bIns="0" numCol="1" anchor="ctr" anchorCtr="0"/>
          <a:lstStyle>
            <a:lvl1pPr marL="388783" indent="0" algn="l">
              <a:spcAft>
                <a:spcPts val="599"/>
              </a:spcAft>
              <a:defRPr sz="2000" b="0" cap="all" baseline="0">
                <a:solidFill>
                  <a:schemeClr val="tx2"/>
                </a:solidFill>
              </a:defRPr>
            </a:lvl1pPr>
            <a:lvl2pPr marL="388783" indent="0" algn="l">
              <a:lnSpc>
                <a:spcPct val="100000"/>
              </a:lnSpc>
              <a:defRPr sz="1200" b="0" baseline="0">
                <a:solidFill>
                  <a:schemeClr val="tx2"/>
                </a:solidFill>
                <a:latin typeface="+mj-lt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45" name="Espace réservé du texte 21">
            <a:extLst>
              <a:ext uri="{FF2B5EF4-FFF2-40B4-BE49-F238E27FC236}">
                <a16:creationId xmlns:a16="http://schemas.microsoft.com/office/drawing/2014/main" id="{D8FB5153-6E23-4931-8368-F632E0E94E1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555776" y="1844825"/>
            <a:ext cx="1944216" cy="1914500"/>
          </a:xfrm>
          <a:noFill/>
        </p:spPr>
        <p:txBody>
          <a:bodyPr lIns="0" tIns="0" rIns="0" bIns="0" numCol="1" anchor="ctr" anchorCtr="0"/>
          <a:lstStyle>
            <a:lvl1pPr marL="388783" indent="0" algn="l">
              <a:spcAft>
                <a:spcPts val="599"/>
              </a:spcAft>
              <a:defRPr sz="2401" b="0" cap="all" baseline="0">
                <a:solidFill>
                  <a:schemeClr val="tx2"/>
                </a:solidFill>
              </a:defRPr>
            </a:lvl1pPr>
            <a:lvl2pPr marL="388783" indent="0" algn="l">
              <a:lnSpc>
                <a:spcPct val="100000"/>
              </a:lnSpc>
              <a:defRPr sz="1400" b="0" baseline="0">
                <a:solidFill>
                  <a:schemeClr val="tx2"/>
                </a:solidFill>
                <a:latin typeface="+mj-lt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46" name="Espace réservé du texte 21">
            <a:extLst>
              <a:ext uri="{FF2B5EF4-FFF2-40B4-BE49-F238E27FC236}">
                <a16:creationId xmlns:a16="http://schemas.microsoft.com/office/drawing/2014/main" id="{2AB4BA13-E6A9-4CC4-9DD1-11EC7E8330B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644007" y="3969060"/>
            <a:ext cx="1908212" cy="1908212"/>
          </a:xfrm>
          <a:noFill/>
        </p:spPr>
        <p:txBody>
          <a:bodyPr lIns="0" tIns="0" rIns="0" bIns="0" numCol="1" anchor="ctr" anchorCtr="0"/>
          <a:lstStyle>
            <a:lvl1pPr marL="388783" indent="0" algn="l">
              <a:spcAft>
                <a:spcPts val="0"/>
              </a:spcAft>
              <a:defRPr sz="2401" b="0">
                <a:solidFill>
                  <a:schemeClr val="bg1"/>
                </a:solidFill>
              </a:defRPr>
            </a:lvl1pPr>
            <a:lvl2pPr marL="388783" indent="0" algn="l">
              <a:lnSpc>
                <a:spcPct val="100000"/>
              </a:lnSpc>
              <a:defRPr sz="1101" b="0" baseline="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47" name="Espace réservé du texte 21">
            <a:extLst>
              <a:ext uri="{FF2B5EF4-FFF2-40B4-BE49-F238E27FC236}">
                <a16:creationId xmlns:a16="http://schemas.microsoft.com/office/drawing/2014/main" id="{BD20CD7D-4360-4302-B1B5-03E1EE112A2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519771" y="3933056"/>
            <a:ext cx="1944216" cy="1914500"/>
          </a:xfrm>
          <a:noFill/>
        </p:spPr>
        <p:txBody>
          <a:bodyPr lIns="0" tIns="0" rIns="0" bIns="0" numCol="1" anchor="ctr" anchorCtr="0"/>
          <a:lstStyle>
            <a:lvl1pPr marL="388783" indent="0" algn="l">
              <a:spcAft>
                <a:spcPts val="599"/>
              </a:spcAft>
              <a:defRPr sz="2000" b="0" cap="none" baseline="0">
                <a:solidFill>
                  <a:schemeClr val="tx2"/>
                </a:solidFill>
              </a:defRPr>
            </a:lvl1pPr>
            <a:lvl2pPr marL="388783" indent="0" algn="l">
              <a:lnSpc>
                <a:spcPct val="100000"/>
              </a:lnSpc>
              <a:defRPr sz="1200" b="0" cap="none" baseline="0">
                <a:solidFill>
                  <a:schemeClr val="tx2"/>
                </a:solidFill>
                <a:latin typeface="+mj-lt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48" name="Espace réservé du texte 21">
            <a:extLst>
              <a:ext uri="{FF2B5EF4-FFF2-40B4-BE49-F238E27FC236}">
                <a16:creationId xmlns:a16="http://schemas.microsoft.com/office/drawing/2014/main" id="{D45B2B62-654B-4A65-BD78-F8C912D1AC5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31539" y="1844824"/>
            <a:ext cx="1908212" cy="1908212"/>
          </a:xfrm>
          <a:noFill/>
        </p:spPr>
        <p:txBody>
          <a:bodyPr lIns="0" tIns="0" rIns="0" bIns="0" numCol="1" anchor="ctr" anchorCtr="0"/>
          <a:lstStyle>
            <a:lvl1pPr marL="388783" indent="0" algn="l">
              <a:spcAft>
                <a:spcPts val="0"/>
              </a:spcAft>
              <a:defRPr sz="2401" b="0">
                <a:solidFill>
                  <a:schemeClr val="bg1"/>
                </a:solidFill>
              </a:defRPr>
            </a:lvl1pPr>
            <a:lvl2pPr marL="388783" indent="0" algn="l">
              <a:lnSpc>
                <a:spcPct val="100000"/>
              </a:lnSpc>
              <a:defRPr sz="1101" b="0" baseline="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49" name="Espace réservé du texte 21">
            <a:extLst>
              <a:ext uri="{FF2B5EF4-FFF2-40B4-BE49-F238E27FC236}">
                <a16:creationId xmlns:a16="http://schemas.microsoft.com/office/drawing/2014/main" id="{8AC88135-7D23-4322-8A0F-614B62D4EAF3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644008" y="1874540"/>
            <a:ext cx="1944216" cy="1914500"/>
          </a:xfrm>
          <a:noFill/>
        </p:spPr>
        <p:txBody>
          <a:bodyPr lIns="0" tIns="0" rIns="0" bIns="0" numCol="1" anchor="ctr" anchorCtr="0"/>
          <a:lstStyle>
            <a:lvl1pPr marL="388783" indent="0" algn="l">
              <a:spcAft>
                <a:spcPts val="599"/>
              </a:spcAft>
              <a:defRPr sz="2401" b="0" cap="none" baseline="0">
                <a:solidFill>
                  <a:schemeClr val="tx2"/>
                </a:solidFill>
              </a:defRPr>
            </a:lvl1pPr>
            <a:lvl2pPr marL="388783" indent="0" algn="l">
              <a:lnSpc>
                <a:spcPct val="100000"/>
              </a:lnSpc>
              <a:defRPr sz="1400" b="0" cap="none" baseline="0">
                <a:solidFill>
                  <a:schemeClr val="tx2"/>
                </a:solidFill>
                <a:latin typeface="+mj-lt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34915191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e &amp; chiffres import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379454" y="8620"/>
            <a:ext cx="9137054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/>
              <a:t>Cliquez pour modifier le titre</a:t>
            </a:r>
          </a:p>
        </p:txBody>
      </p:sp>
      <p:sp>
        <p:nvSpPr>
          <p:cNvPr id="17" name="Espace réservé du texte 2"/>
          <p:cNvSpPr>
            <a:spLocks noGrp="1"/>
          </p:cNvSpPr>
          <p:nvPr>
            <p:ph type="body" sz="quarter" idx="26"/>
          </p:nvPr>
        </p:nvSpPr>
        <p:spPr>
          <a:xfrm>
            <a:off x="385233" y="1268767"/>
            <a:ext cx="9165670" cy="46805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6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156018" y="6250680"/>
            <a:ext cx="425757" cy="500814"/>
          </a:xfrm>
        </p:spPr>
        <p:txBody>
          <a:bodyPr anchor="b" anchorCtr="0"/>
          <a:lstStyle>
            <a:lvl1pPr algn="r">
              <a:defRPr sz="1517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/>
              <a:t>00.</a:t>
            </a:r>
          </a:p>
        </p:txBody>
      </p:sp>
      <p:sp>
        <p:nvSpPr>
          <p:cNvPr id="37" name="Espace réservé du texte 11"/>
          <p:cNvSpPr>
            <a:spLocks noGrp="1"/>
          </p:cNvSpPr>
          <p:nvPr>
            <p:ph type="body" sz="quarter" idx="14" hasCustomPrompt="1"/>
          </p:nvPr>
        </p:nvSpPr>
        <p:spPr>
          <a:xfrm>
            <a:off x="662528" y="6250680"/>
            <a:ext cx="6708745" cy="500814"/>
          </a:xfrm>
        </p:spPr>
        <p:txBody>
          <a:bodyPr anchor="b" anchorCtr="0"/>
          <a:lstStyle>
            <a:lvl1pPr algn="l">
              <a:defRPr sz="1517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/>
              <a:t>Cliquez pour insérer le titre de chapitre</a:t>
            </a:r>
          </a:p>
        </p:txBody>
      </p:sp>
      <p:sp>
        <p:nvSpPr>
          <p:cNvPr id="23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9469456" y="6429211"/>
            <a:ext cx="710129" cy="312165"/>
          </a:xfrm>
          <a:prstGeom prst="rect">
            <a:avLst/>
          </a:prstGeom>
        </p:spPr>
        <p:txBody>
          <a:bodyPr/>
          <a:lstStyle>
            <a:lvl1pPr>
              <a:defRPr sz="1300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fld id="{19858401-1896-4F80-9B2B-186795E41C2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6461358B-0A56-4569-A5C6-0B3A384E1B29}"/>
              </a:ext>
            </a:extLst>
          </p:cNvPr>
          <p:cNvSpPr/>
          <p:nvPr userDrawn="1"/>
        </p:nvSpPr>
        <p:spPr>
          <a:xfrm>
            <a:off x="431541" y="1880829"/>
            <a:ext cx="1898393" cy="189839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err="1">
              <a:solidFill>
                <a:schemeClr val="tx1"/>
              </a:solidFill>
            </a:endParaRP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82DCD752-E36E-4B6F-9492-DB43B3AD23A9}"/>
              </a:ext>
            </a:extLst>
          </p:cNvPr>
          <p:cNvSpPr/>
          <p:nvPr userDrawn="1"/>
        </p:nvSpPr>
        <p:spPr>
          <a:xfrm>
            <a:off x="2559050" y="1880829"/>
            <a:ext cx="1898393" cy="18983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err="1">
              <a:solidFill>
                <a:schemeClr val="tx1"/>
              </a:solidFill>
            </a:endParaRPr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0911885B-EC22-4174-B624-763C970801E9}"/>
              </a:ext>
            </a:extLst>
          </p:cNvPr>
          <p:cNvSpPr/>
          <p:nvPr userDrawn="1"/>
        </p:nvSpPr>
        <p:spPr>
          <a:xfrm>
            <a:off x="4686559" y="1880829"/>
            <a:ext cx="1898393" cy="1898393"/>
          </a:xfrm>
          <a:prstGeom prst="ellipse">
            <a:avLst/>
          </a:prstGeom>
          <a:solidFill>
            <a:srgbClr val="00A3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err="1">
              <a:solidFill>
                <a:schemeClr val="tx1"/>
              </a:solidFill>
            </a:endParaRP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64CBDD6D-6A64-4C13-A8BF-708ACDF26FCF}"/>
              </a:ext>
            </a:extLst>
          </p:cNvPr>
          <p:cNvSpPr/>
          <p:nvPr userDrawn="1"/>
        </p:nvSpPr>
        <p:spPr>
          <a:xfrm>
            <a:off x="6814067" y="1880829"/>
            <a:ext cx="1898393" cy="189839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err="1">
              <a:solidFill>
                <a:schemeClr val="tx1"/>
              </a:solidFill>
            </a:endParaRPr>
          </a:p>
        </p:txBody>
      </p:sp>
      <p:sp>
        <p:nvSpPr>
          <p:cNvPr id="38" name="Ellipse 37">
            <a:extLst>
              <a:ext uri="{FF2B5EF4-FFF2-40B4-BE49-F238E27FC236}">
                <a16:creationId xmlns:a16="http://schemas.microsoft.com/office/drawing/2014/main" id="{9215AAFC-F401-4370-AAFA-8CB4479E81F5}"/>
              </a:ext>
            </a:extLst>
          </p:cNvPr>
          <p:cNvSpPr/>
          <p:nvPr userDrawn="1"/>
        </p:nvSpPr>
        <p:spPr>
          <a:xfrm>
            <a:off x="431541" y="3959242"/>
            <a:ext cx="1898393" cy="1898393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err="1">
              <a:solidFill>
                <a:schemeClr val="tx1"/>
              </a:solidFill>
            </a:endParaRPr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D243CD9A-9DB5-43E4-80C8-DD3C61B6C49B}"/>
              </a:ext>
            </a:extLst>
          </p:cNvPr>
          <p:cNvSpPr/>
          <p:nvPr userDrawn="1"/>
        </p:nvSpPr>
        <p:spPr>
          <a:xfrm>
            <a:off x="2559050" y="3959242"/>
            <a:ext cx="1898393" cy="189839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err="1">
              <a:solidFill>
                <a:schemeClr val="tx1"/>
              </a:solidFill>
            </a:endParaRPr>
          </a:p>
        </p:txBody>
      </p:sp>
      <p:sp>
        <p:nvSpPr>
          <p:cNvPr id="40" name="Ellipse 39">
            <a:extLst>
              <a:ext uri="{FF2B5EF4-FFF2-40B4-BE49-F238E27FC236}">
                <a16:creationId xmlns:a16="http://schemas.microsoft.com/office/drawing/2014/main" id="{EFB833CD-7047-48B5-B38E-34378C2129BE}"/>
              </a:ext>
            </a:extLst>
          </p:cNvPr>
          <p:cNvSpPr/>
          <p:nvPr userDrawn="1"/>
        </p:nvSpPr>
        <p:spPr>
          <a:xfrm>
            <a:off x="4686559" y="3959242"/>
            <a:ext cx="1898393" cy="18983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err="1">
              <a:solidFill>
                <a:schemeClr val="tx1"/>
              </a:solidFill>
            </a:endParaRPr>
          </a:p>
        </p:txBody>
      </p:sp>
      <p:sp>
        <p:nvSpPr>
          <p:cNvPr id="41" name="Ellipse 40">
            <a:extLst>
              <a:ext uri="{FF2B5EF4-FFF2-40B4-BE49-F238E27FC236}">
                <a16:creationId xmlns:a16="http://schemas.microsoft.com/office/drawing/2014/main" id="{BC07EC88-3436-4A00-98F5-F3DE92CB02D8}"/>
              </a:ext>
            </a:extLst>
          </p:cNvPr>
          <p:cNvSpPr/>
          <p:nvPr userDrawn="1"/>
        </p:nvSpPr>
        <p:spPr>
          <a:xfrm>
            <a:off x="6814067" y="3959242"/>
            <a:ext cx="1898393" cy="189839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 err="1">
              <a:solidFill>
                <a:schemeClr val="tx1"/>
              </a:solidFill>
            </a:endParaRPr>
          </a:p>
        </p:txBody>
      </p:sp>
      <p:sp>
        <p:nvSpPr>
          <p:cNvPr id="42" name="Espace réservé du texte 21">
            <a:extLst>
              <a:ext uri="{FF2B5EF4-FFF2-40B4-BE49-F238E27FC236}">
                <a16:creationId xmlns:a16="http://schemas.microsoft.com/office/drawing/2014/main" id="{3B2E441E-586A-43DA-8622-6D39268C55B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31539" y="3933056"/>
            <a:ext cx="1908212" cy="1944216"/>
          </a:xfrm>
          <a:noFill/>
        </p:spPr>
        <p:txBody>
          <a:bodyPr lIns="0" tIns="0" rIns="0" bIns="0" numCol="1" anchor="ctr" anchorCtr="0"/>
          <a:lstStyle>
            <a:lvl1pPr marL="388783" indent="0" algn="l">
              <a:spcAft>
                <a:spcPts val="0"/>
              </a:spcAft>
              <a:defRPr sz="2799" b="0">
                <a:solidFill>
                  <a:schemeClr val="bg1"/>
                </a:solidFill>
              </a:defRPr>
            </a:lvl1pPr>
            <a:lvl2pPr marL="388783" indent="0" algn="l">
              <a:lnSpc>
                <a:spcPct val="100000"/>
              </a:lnSpc>
              <a:defRPr sz="1200" b="0" baseline="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43" name="Espace réservé du texte 21">
            <a:extLst>
              <a:ext uri="{FF2B5EF4-FFF2-40B4-BE49-F238E27FC236}">
                <a16:creationId xmlns:a16="http://schemas.microsoft.com/office/drawing/2014/main" id="{E3DB30A9-4F19-499B-BC4D-5B289868711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840252" y="1844825"/>
            <a:ext cx="1872208" cy="1980220"/>
          </a:xfrm>
          <a:noFill/>
        </p:spPr>
        <p:txBody>
          <a:bodyPr lIns="0" tIns="216000" rIns="0" bIns="0" numCol="1" anchor="ctr" anchorCtr="0"/>
          <a:lstStyle>
            <a:lvl1pPr marL="388783" indent="0" algn="l">
              <a:spcAft>
                <a:spcPts val="599"/>
              </a:spcAft>
              <a:defRPr sz="2401" b="0">
                <a:solidFill>
                  <a:schemeClr val="bg2"/>
                </a:solidFill>
              </a:defRPr>
            </a:lvl1pPr>
            <a:lvl2pPr marL="388783" indent="0" algn="l">
              <a:lnSpc>
                <a:spcPct val="100000"/>
              </a:lnSpc>
              <a:defRPr sz="1101" b="0" baseline="0">
                <a:solidFill>
                  <a:schemeClr val="bg2"/>
                </a:solidFill>
                <a:latin typeface="+mj-lt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44" name="Espace réservé du texte 21">
            <a:extLst>
              <a:ext uri="{FF2B5EF4-FFF2-40B4-BE49-F238E27FC236}">
                <a16:creationId xmlns:a16="http://schemas.microsoft.com/office/drawing/2014/main" id="{E54568F8-BD6D-47CA-9A19-748CF5B4F86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804248" y="3933056"/>
            <a:ext cx="1944216" cy="1914500"/>
          </a:xfrm>
          <a:noFill/>
        </p:spPr>
        <p:txBody>
          <a:bodyPr lIns="0" tIns="0" rIns="0" bIns="0" numCol="1" anchor="ctr" anchorCtr="0"/>
          <a:lstStyle>
            <a:lvl1pPr marL="388783" indent="0" algn="l">
              <a:spcAft>
                <a:spcPts val="599"/>
              </a:spcAft>
              <a:defRPr sz="2000" b="0" cap="all" baseline="0">
                <a:solidFill>
                  <a:schemeClr val="bg1"/>
                </a:solidFill>
              </a:defRPr>
            </a:lvl1pPr>
            <a:lvl2pPr marL="388783" indent="0" algn="l">
              <a:lnSpc>
                <a:spcPct val="100000"/>
              </a:lnSpc>
              <a:defRPr sz="1200" b="0" baseline="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45" name="Espace réservé du texte 21">
            <a:extLst>
              <a:ext uri="{FF2B5EF4-FFF2-40B4-BE49-F238E27FC236}">
                <a16:creationId xmlns:a16="http://schemas.microsoft.com/office/drawing/2014/main" id="{93B1732B-28E5-420D-8BB8-EDCA288304C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555776" y="1844825"/>
            <a:ext cx="1944216" cy="1914500"/>
          </a:xfrm>
          <a:noFill/>
        </p:spPr>
        <p:txBody>
          <a:bodyPr lIns="0" tIns="0" rIns="0" bIns="0" numCol="1" anchor="ctr" anchorCtr="0"/>
          <a:lstStyle>
            <a:lvl1pPr marL="388783" indent="0" algn="l">
              <a:spcAft>
                <a:spcPts val="599"/>
              </a:spcAft>
              <a:defRPr sz="2401" b="0" cap="all" baseline="0">
                <a:solidFill>
                  <a:schemeClr val="tx2"/>
                </a:solidFill>
              </a:defRPr>
            </a:lvl1pPr>
            <a:lvl2pPr marL="388783" indent="0" algn="l">
              <a:lnSpc>
                <a:spcPct val="100000"/>
              </a:lnSpc>
              <a:defRPr sz="1400" b="0" baseline="0">
                <a:solidFill>
                  <a:schemeClr val="tx2"/>
                </a:solidFill>
                <a:latin typeface="+mj-lt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46" name="Espace réservé du texte 21">
            <a:extLst>
              <a:ext uri="{FF2B5EF4-FFF2-40B4-BE49-F238E27FC236}">
                <a16:creationId xmlns:a16="http://schemas.microsoft.com/office/drawing/2014/main" id="{03B51F18-CCB7-4C76-9414-B6E1DFBC3F5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644007" y="3933056"/>
            <a:ext cx="1908212" cy="1944216"/>
          </a:xfrm>
          <a:noFill/>
        </p:spPr>
        <p:txBody>
          <a:bodyPr lIns="0" tIns="0" rIns="0" bIns="0" numCol="1" anchor="ctr" anchorCtr="0"/>
          <a:lstStyle>
            <a:lvl1pPr marL="388783" indent="0" algn="l">
              <a:spcAft>
                <a:spcPts val="0"/>
              </a:spcAft>
              <a:defRPr sz="2401" b="0">
                <a:solidFill>
                  <a:schemeClr val="tx2"/>
                </a:solidFill>
              </a:defRPr>
            </a:lvl1pPr>
            <a:lvl2pPr marL="388783" indent="0" algn="l">
              <a:lnSpc>
                <a:spcPct val="100000"/>
              </a:lnSpc>
              <a:defRPr sz="1101" b="0" baseline="0">
                <a:solidFill>
                  <a:schemeClr val="tx2"/>
                </a:solidFill>
                <a:latin typeface="+mj-lt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47" name="Espace réservé du texte 21">
            <a:extLst>
              <a:ext uri="{FF2B5EF4-FFF2-40B4-BE49-F238E27FC236}">
                <a16:creationId xmlns:a16="http://schemas.microsoft.com/office/drawing/2014/main" id="{CD96DEC2-60B0-48F5-81BD-520BC86D112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519771" y="3897053"/>
            <a:ext cx="1944216" cy="1950503"/>
          </a:xfrm>
          <a:noFill/>
        </p:spPr>
        <p:txBody>
          <a:bodyPr lIns="0" tIns="0" rIns="0" bIns="0" numCol="1" anchor="ctr" anchorCtr="0"/>
          <a:lstStyle>
            <a:lvl1pPr marL="388783" indent="0" algn="l">
              <a:spcAft>
                <a:spcPts val="599"/>
              </a:spcAft>
              <a:defRPr sz="2000" b="0" cap="none" baseline="0">
                <a:solidFill>
                  <a:schemeClr val="bg1"/>
                </a:solidFill>
              </a:defRPr>
            </a:lvl1pPr>
            <a:lvl2pPr marL="388783" indent="0" algn="l">
              <a:lnSpc>
                <a:spcPct val="100000"/>
              </a:lnSpc>
              <a:defRPr sz="1200" b="0" cap="none" baseline="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48" name="Espace réservé du texte 21">
            <a:extLst>
              <a:ext uri="{FF2B5EF4-FFF2-40B4-BE49-F238E27FC236}">
                <a16:creationId xmlns:a16="http://schemas.microsoft.com/office/drawing/2014/main" id="{07F2E51D-7F11-4C92-83D1-378E1DE08DB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31539" y="1844824"/>
            <a:ext cx="1908212" cy="1908212"/>
          </a:xfrm>
          <a:noFill/>
        </p:spPr>
        <p:txBody>
          <a:bodyPr lIns="0" tIns="0" rIns="0" bIns="0" numCol="1" anchor="ctr" anchorCtr="0"/>
          <a:lstStyle>
            <a:lvl1pPr marL="388783" indent="0" algn="l">
              <a:spcAft>
                <a:spcPts val="0"/>
              </a:spcAft>
              <a:defRPr sz="2401" b="0">
                <a:solidFill>
                  <a:schemeClr val="bg1"/>
                </a:solidFill>
              </a:defRPr>
            </a:lvl1pPr>
            <a:lvl2pPr marL="388783" indent="0" algn="l">
              <a:lnSpc>
                <a:spcPct val="100000"/>
              </a:lnSpc>
              <a:defRPr sz="1101" b="0" baseline="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49" name="Espace réservé du texte 21">
            <a:extLst>
              <a:ext uri="{FF2B5EF4-FFF2-40B4-BE49-F238E27FC236}">
                <a16:creationId xmlns:a16="http://schemas.microsoft.com/office/drawing/2014/main" id="{CCBACA1B-E6C4-4604-95F9-19CEBA51DBA0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644008" y="1889126"/>
            <a:ext cx="1944216" cy="1899915"/>
          </a:xfrm>
          <a:noFill/>
        </p:spPr>
        <p:txBody>
          <a:bodyPr lIns="0" tIns="0" rIns="0" bIns="0" numCol="1" anchor="ctr" anchorCtr="0"/>
          <a:lstStyle>
            <a:lvl1pPr marL="388783" indent="0" algn="l">
              <a:spcAft>
                <a:spcPts val="599"/>
              </a:spcAft>
              <a:defRPr sz="2401" b="0" cap="none" baseline="0">
                <a:solidFill>
                  <a:srgbClr val="FFFFFF"/>
                </a:solidFill>
              </a:defRPr>
            </a:lvl1pPr>
            <a:lvl2pPr marL="388783" indent="0" algn="l">
              <a:lnSpc>
                <a:spcPct val="100000"/>
              </a:lnSpc>
              <a:defRPr sz="1400" b="0" cap="none" baseline="0">
                <a:solidFill>
                  <a:srgbClr val="FFFFFF"/>
                </a:solidFill>
                <a:latin typeface="+mj-lt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84462634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e &amp; chiffres import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379454" y="8620"/>
            <a:ext cx="9137054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/>
              <a:t>Cliquez pour modifier le titre</a:t>
            </a:r>
          </a:p>
        </p:txBody>
      </p:sp>
      <p:sp>
        <p:nvSpPr>
          <p:cNvPr id="36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156018" y="6250680"/>
            <a:ext cx="425757" cy="500814"/>
          </a:xfrm>
        </p:spPr>
        <p:txBody>
          <a:bodyPr anchor="b" anchorCtr="0"/>
          <a:lstStyle>
            <a:lvl1pPr algn="r">
              <a:defRPr sz="1517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/>
              <a:t>00.</a:t>
            </a:r>
          </a:p>
        </p:txBody>
      </p:sp>
      <p:sp>
        <p:nvSpPr>
          <p:cNvPr id="37" name="Espace réservé du texte 11"/>
          <p:cNvSpPr>
            <a:spLocks noGrp="1"/>
          </p:cNvSpPr>
          <p:nvPr>
            <p:ph type="body" sz="quarter" idx="14" hasCustomPrompt="1"/>
          </p:nvPr>
        </p:nvSpPr>
        <p:spPr>
          <a:xfrm>
            <a:off x="662528" y="6250680"/>
            <a:ext cx="6708745" cy="500814"/>
          </a:xfrm>
        </p:spPr>
        <p:txBody>
          <a:bodyPr anchor="b" anchorCtr="0"/>
          <a:lstStyle>
            <a:lvl1pPr algn="l">
              <a:defRPr sz="1517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/>
              <a:t>Cliquez pour insérer le titre de chapitre</a:t>
            </a:r>
          </a:p>
        </p:txBody>
      </p:sp>
      <p:sp>
        <p:nvSpPr>
          <p:cNvPr id="22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9469456" y="6429211"/>
            <a:ext cx="710129" cy="312165"/>
          </a:xfrm>
          <a:prstGeom prst="rect">
            <a:avLst/>
          </a:prstGeom>
        </p:spPr>
        <p:txBody>
          <a:bodyPr/>
          <a:lstStyle>
            <a:lvl1pPr>
              <a:defRPr sz="1300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fld id="{19858401-1896-4F80-9B2B-186795E41C27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23" name="Connecteur droit 22">
            <a:extLst>
              <a:ext uri="{FF2B5EF4-FFF2-40B4-BE49-F238E27FC236}">
                <a16:creationId xmlns:a16="http://schemas.microsoft.com/office/drawing/2014/main" id="{4A221687-D626-4256-836D-BB2DB4E4C8D2}"/>
              </a:ext>
            </a:extLst>
          </p:cNvPr>
          <p:cNvCxnSpPr/>
          <p:nvPr userDrawn="1"/>
        </p:nvCxnSpPr>
        <p:spPr>
          <a:xfrm>
            <a:off x="3995936" y="2096852"/>
            <a:ext cx="180020" cy="756084"/>
          </a:xfrm>
          <a:prstGeom prst="line">
            <a:avLst/>
          </a:prstGeom>
          <a:ln cap="rnd">
            <a:solidFill>
              <a:schemeClr val="tx2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Connecteur droit 23">
            <a:extLst>
              <a:ext uri="{FF2B5EF4-FFF2-40B4-BE49-F238E27FC236}">
                <a16:creationId xmlns:a16="http://schemas.microsoft.com/office/drawing/2014/main" id="{D2BB49BF-B9D5-40A1-8273-C74341C43FD2}"/>
              </a:ext>
            </a:extLst>
          </p:cNvPr>
          <p:cNvCxnSpPr/>
          <p:nvPr userDrawn="1"/>
        </p:nvCxnSpPr>
        <p:spPr>
          <a:xfrm>
            <a:off x="1727684" y="3212976"/>
            <a:ext cx="1332148" cy="252028"/>
          </a:xfrm>
          <a:prstGeom prst="line">
            <a:avLst/>
          </a:prstGeom>
          <a:ln cap="rnd">
            <a:solidFill>
              <a:schemeClr val="tx2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CC10E838-BAD7-4EDD-A77F-DB90AB1841A0}"/>
              </a:ext>
            </a:extLst>
          </p:cNvPr>
          <p:cNvCxnSpPr/>
          <p:nvPr userDrawn="1"/>
        </p:nvCxnSpPr>
        <p:spPr>
          <a:xfrm flipV="1">
            <a:off x="3383868" y="3969060"/>
            <a:ext cx="468052" cy="1224136"/>
          </a:xfrm>
          <a:prstGeom prst="line">
            <a:avLst/>
          </a:prstGeom>
          <a:ln cap="rnd">
            <a:solidFill>
              <a:schemeClr val="tx2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Connecteur droit 28">
            <a:extLst>
              <a:ext uri="{FF2B5EF4-FFF2-40B4-BE49-F238E27FC236}">
                <a16:creationId xmlns:a16="http://schemas.microsoft.com/office/drawing/2014/main" id="{AA40F94A-62C8-4F9A-92A7-51D76316671A}"/>
              </a:ext>
            </a:extLst>
          </p:cNvPr>
          <p:cNvCxnSpPr/>
          <p:nvPr userDrawn="1"/>
        </p:nvCxnSpPr>
        <p:spPr>
          <a:xfrm flipH="1" flipV="1">
            <a:off x="4860034" y="3969060"/>
            <a:ext cx="1548171" cy="1044116"/>
          </a:xfrm>
          <a:prstGeom prst="line">
            <a:avLst/>
          </a:prstGeom>
          <a:ln cap="rnd">
            <a:solidFill>
              <a:schemeClr val="tx2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>
            <a:extLst>
              <a:ext uri="{FF2B5EF4-FFF2-40B4-BE49-F238E27FC236}">
                <a16:creationId xmlns:a16="http://schemas.microsoft.com/office/drawing/2014/main" id="{76CCF92E-B71D-48EE-B104-AACD202106FE}"/>
              </a:ext>
            </a:extLst>
          </p:cNvPr>
          <p:cNvCxnSpPr/>
          <p:nvPr userDrawn="1"/>
        </p:nvCxnSpPr>
        <p:spPr>
          <a:xfrm flipH="1">
            <a:off x="5472100" y="2132856"/>
            <a:ext cx="1476164" cy="900100"/>
          </a:xfrm>
          <a:prstGeom prst="line">
            <a:avLst/>
          </a:prstGeom>
          <a:ln cap="rnd">
            <a:solidFill>
              <a:schemeClr val="tx2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Espace réservé du texte 2">
            <a:extLst>
              <a:ext uri="{FF2B5EF4-FFF2-40B4-BE49-F238E27FC236}">
                <a16:creationId xmlns:a16="http://schemas.microsoft.com/office/drawing/2014/main" id="{019F0D43-7745-44E1-80A8-FE5B0C9EE64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47865" y="2960949"/>
            <a:ext cx="2664297" cy="468053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0" name="Ellipse 39">
            <a:extLst>
              <a:ext uri="{FF2B5EF4-FFF2-40B4-BE49-F238E27FC236}">
                <a16:creationId xmlns:a16="http://schemas.microsoft.com/office/drawing/2014/main" id="{ADEA2142-C3EB-4B4B-8A3F-E3E3405EC255}"/>
              </a:ext>
            </a:extLst>
          </p:cNvPr>
          <p:cNvSpPr/>
          <p:nvPr userDrawn="1"/>
        </p:nvSpPr>
        <p:spPr>
          <a:xfrm>
            <a:off x="2951820" y="764705"/>
            <a:ext cx="1898393" cy="189839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err="1">
              <a:solidFill>
                <a:schemeClr val="tx1"/>
              </a:solidFill>
            </a:endParaRPr>
          </a:p>
        </p:txBody>
      </p:sp>
      <p:sp>
        <p:nvSpPr>
          <p:cNvPr id="41" name="Ellipse 40">
            <a:extLst>
              <a:ext uri="{FF2B5EF4-FFF2-40B4-BE49-F238E27FC236}">
                <a16:creationId xmlns:a16="http://schemas.microsoft.com/office/drawing/2014/main" id="{A603A4BA-6E2E-4CF8-A9C1-56CA2A61F66D}"/>
              </a:ext>
            </a:extLst>
          </p:cNvPr>
          <p:cNvSpPr/>
          <p:nvPr userDrawn="1"/>
        </p:nvSpPr>
        <p:spPr>
          <a:xfrm>
            <a:off x="6129991" y="1190465"/>
            <a:ext cx="1898393" cy="1898393"/>
          </a:xfrm>
          <a:prstGeom prst="ellipse">
            <a:avLst/>
          </a:prstGeom>
          <a:solidFill>
            <a:srgbClr val="FFC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err="1">
              <a:solidFill>
                <a:schemeClr val="tx1"/>
              </a:solidFill>
            </a:endParaRPr>
          </a:p>
        </p:txBody>
      </p:sp>
      <p:sp>
        <p:nvSpPr>
          <p:cNvPr id="42" name="Ellipse 41">
            <a:extLst>
              <a:ext uri="{FF2B5EF4-FFF2-40B4-BE49-F238E27FC236}">
                <a16:creationId xmlns:a16="http://schemas.microsoft.com/office/drawing/2014/main" id="{04AB8FE5-43ED-417F-A85D-3B4E3EE7FFC8}"/>
              </a:ext>
            </a:extLst>
          </p:cNvPr>
          <p:cNvSpPr/>
          <p:nvPr userDrawn="1"/>
        </p:nvSpPr>
        <p:spPr>
          <a:xfrm>
            <a:off x="719573" y="2240869"/>
            <a:ext cx="1898393" cy="189839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err="1">
              <a:solidFill>
                <a:schemeClr val="tx1"/>
              </a:solidFill>
            </a:endParaRPr>
          </a:p>
        </p:txBody>
      </p:sp>
      <p:sp>
        <p:nvSpPr>
          <p:cNvPr id="43" name="Ellipse 42">
            <a:extLst>
              <a:ext uri="{FF2B5EF4-FFF2-40B4-BE49-F238E27FC236}">
                <a16:creationId xmlns:a16="http://schemas.microsoft.com/office/drawing/2014/main" id="{02EC7F72-B128-4A31-9706-2CE5A812ECEB}"/>
              </a:ext>
            </a:extLst>
          </p:cNvPr>
          <p:cNvSpPr/>
          <p:nvPr userDrawn="1"/>
        </p:nvSpPr>
        <p:spPr>
          <a:xfrm>
            <a:off x="2415033" y="4283278"/>
            <a:ext cx="1898393" cy="18983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err="1">
              <a:solidFill>
                <a:schemeClr val="tx1"/>
              </a:solidFill>
            </a:endParaRPr>
          </a:p>
        </p:txBody>
      </p:sp>
      <p:sp>
        <p:nvSpPr>
          <p:cNvPr id="44" name="Ellipse 43">
            <a:extLst>
              <a:ext uri="{FF2B5EF4-FFF2-40B4-BE49-F238E27FC236}">
                <a16:creationId xmlns:a16="http://schemas.microsoft.com/office/drawing/2014/main" id="{E193B3B2-1272-488A-BED4-E353852F7F29}"/>
              </a:ext>
            </a:extLst>
          </p:cNvPr>
          <p:cNvSpPr/>
          <p:nvPr userDrawn="1"/>
        </p:nvSpPr>
        <p:spPr>
          <a:xfrm>
            <a:off x="5442642" y="4005065"/>
            <a:ext cx="1898393" cy="1898393"/>
          </a:xfrm>
          <a:prstGeom prst="ellipse">
            <a:avLst/>
          </a:prstGeom>
          <a:solidFill>
            <a:srgbClr val="786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err="1">
              <a:solidFill>
                <a:schemeClr val="tx1"/>
              </a:solidFill>
            </a:endParaRPr>
          </a:p>
        </p:txBody>
      </p:sp>
      <p:sp>
        <p:nvSpPr>
          <p:cNvPr id="45" name="Espace réservé du texte 21">
            <a:extLst>
              <a:ext uri="{FF2B5EF4-FFF2-40B4-BE49-F238E27FC236}">
                <a16:creationId xmlns:a16="http://schemas.microsoft.com/office/drawing/2014/main" id="{AFDD4972-28BD-4ACC-A610-2B9D2FF6630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572" y="2250687"/>
            <a:ext cx="1908212" cy="1908212"/>
          </a:xfrm>
          <a:noFill/>
        </p:spPr>
        <p:txBody>
          <a:bodyPr lIns="0" tIns="0" rIns="0" bIns="0" numCol="1" anchor="ctr" anchorCtr="0"/>
          <a:lstStyle>
            <a:lvl1pPr marL="388783" indent="0" algn="l">
              <a:spcAft>
                <a:spcPts val="0"/>
              </a:spcAft>
              <a:defRPr sz="2799" b="0">
                <a:solidFill>
                  <a:schemeClr val="bg1"/>
                </a:solidFill>
              </a:defRPr>
            </a:lvl1pPr>
            <a:lvl2pPr marL="388783" indent="0" algn="l">
              <a:lnSpc>
                <a:spcPct val="100000"/>
              </a:lnSpc>
              <a:defRPr sz="1200" b="0" baseline="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46" name="Espace réservé du texte 21">
            <a:extLst>
              <a:ext uri="{FF2B5EF4-FFF2-40B4-BE49-F238E27FC236}">
                <a16:creationId xmlns:a16="http://schemas.microsoft.com/office/drawing/2014/main" id="{879D26E3-1002-4D81-8125-D744F28D1DC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084168" y="1226468"/>
            <a:ext cx="1944216" cy="1914500"/>
          </a:xfrm>
          <a:noFill/>
        </p:spPr>
        <p:txBody>
          <a:bodyPr lIns="0" tIns="0" rIns="0" bIns="0" numCol="1" anchor="ctr" anchorCtr="0"/>
          <a:lstStyle>
            <a:lvl1pPr marL="388783" indent="0" algn="l">
              <a:spcAft>
                <a:spcPts val="599"/>
              </a:spcAft>
              <a:defRPr sz="2401" b="0" cap="all" baseline="0">
                <a:solidFill>
                  <a:schemeClr val="tx2"/>
                </a:solidFill>
              </a:defRPr>
            </a:lvl1pPr>
            <a:lvl2pPr marL="388783" indent="0" algn="l">
              <a:lnSpc>
                <a:spcPct val="100000"/>
              </a:lnSpc>
              <a:defRPr sz="1400" b="0" baseline="0">
                <a:solidFill>
                  <a:schemeClr val="tx2"/>
                </a:solidFill>
                <a:latin typeface="+mj-lt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47" name="Espace réservé du texte 21">
            <a:extLst>
              <a:ext uri="{FF2B5EF4-FFF2-40B4-BE49-F238E27FC236}">
                <a16:creationId xmlns:a16="http://schemas.microsoft.com/office/drawing/2014/main" id="{EB31DBEC-D4BD-49F0-9F93-CD7EC04C02B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400092" y="4014883"/>
            <a:ext cx="1908212" cy="1908212"/>
          </a:xfrm>
          <a:noFill/>
        </p:spPr>
        <p:txBody>
          <a:bodyPr lIns="0" tIns="0" rIns="0" bIns="0" numCol="1" anchor="ctr" anchorCtr="0"/>
          <a:lstStyle>
            <a:lvl1pPr marL="388783" indent="0" algn="l">
              <a:spcAft>
                <a:spcPts val="0"/>
              </a:spcAft>
              <a:defRPr sz="2401" b="0">
                <a:solidFill>
                  <a:schemeClr val="bg1"/>
                </a:solidFill>
              </a:defRPr>
            </a:lvl1pPr>
            <a:lvl2pPr marL="388783" indent="0" algn="l">
              <a:lnSpc>
                <a:spcPct val="100000"/>
              </a:lnSpc>
              <a:defRPr sz="1101" b="0" baseline="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48" name="Espace réservé du texte 21">
            <a:extLst>
              <a:ext uri="{FF2B5EF4-FFF2-40B4-BE49-F238E27FC236}">
                <a16:creationId xmlns:a16="http://schemas.microsoft.com/office/drawing/2014/main" id="{C5AF0345-AF9A-4576-937E-9A48C5DF3F9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375756" y="4257092"/>
            <a:ext cx="1944216" cy="1914500"/>
          </a:xfrm>
          <a:noFill/>
        </p:spPr>
        <p:txBody>
          <a:bodyPr lIns="0" tIns="0" rIns="0" bIns="0" numCol="1" anchor="ctr" anchorCtr="0"/>
          <a:lstStyle>
            <a:lvl1pPr marL="388783" indent="0" algn="l">
              <a:spcAft>
                <a:spcPts val="599"/>
              </a:spcAft>
              <a:defRPr sz="2000" b="0" cap="none" baseline="0">
                <a:solidFill>
                  <a:schemeClr val="tx2"/>
                </a:solidFill>
              </a:defRPr>
            </a:lvl1pPr>
            <a:lvl2pPr marL="388783" indent="0" algn="l">
              <a:lnSpc>
                <a:spcPct val="100000"/>
              </a:lnSpc>
              <a:defRPr sz="1200" b="0" cap="none" baseline="0">
                <a:solidFill>
                  <a:schemeClr val="tx2"/>
                </a:solidFill>
                <a:latin typeface="+mj-lt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49" name="Espace réservé du texte 21">
            <a:extLst>
              <a:ext uri="{FF2B5EF4-FFF2-40B4-BE49-F238E27FC236}">
                <a16:creationId xmlns:a16="http://schemas.microsoft.com/office/drawing/2014/main" id="{A4C58047-8A78-4DE6-897E-62DD6F7B21E2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951821" y="728700"/>
            <a:ext cx="1908212" cy="1908212"/>
          </a:xfrm>
          <a:noFill/>
        </p:spPr>
        <p:txBody>
          <a:bodyPr lIns="0" tIns="0" rIns="0" bIns="0" numCol="1" anchor="ctr" anchorCtr="0"/>
          <a:lstStyle>
            <a:lvl1pPr marL="388783" indent="0" algn="l">
              <a:spcAft>
                <a:spcPts val="0"/>
              </a:spcAft>
              <a:defRPr sz="2401" b="0">
                <a:solidFill>
                  <a:schemeClr val="bg1"/>
                </a:solidFill>
              </a:defRPr>
            </a:lvl1pPr>
            <a:lvl2pPr marL="388783" indent="0" algn="l">
              <a:lnSpc>
                <a:spcPct val="100000"/>
              </a:lnSpc>
              <a:defRPr sz="1101" b="0" baseline="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8254134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age de ga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ag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549503" y="3403600"/>
            <a:ext cx="68496" cy="38100"/>
          </a:xfrm>
          <a:prstGeom prst="rect">
            <a:avLst/>
          </a:prstGeom>
        </p:spPr>
      </p:pic>
      <p:sp>
        <p:nvSpPr>
          <p:cNvPr id="12" name="Espace réservé du texte 24"/>
          <p:cNvSpPr>
            <a:spLocks noGrp="1"/>
          </p:cNvSpPr>
          <p:nvPr>
            <p:ph type="body" sz="quarter" idx="10" hasCustomPrompt="1"/>
          </p:nvPr>
        </p:nvSpPr>
        <p:spPr>
          <a:xfrm>
            <a:off x="3783265" y="2780928"/>
            <a:ext cx="5070530" cy="612068"/>
          </a:xfrm>
        </p:spPr>
        <p:txBody>
          <a:bodyPr/>
          <a:lstStyle>
            <a:lvl1pPr>
              <a:defRPr sz="5417" cap="all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TITRE</a:t>
            </a:r>
          </a:p>
        </p:txBody>
      </p:sp>
      <p:sp>
        <p:nvSpPr>
          <p:cNvPr id="13" name="Espace réservé du texte 26"/>
          <p:cNvSpPr>
            <a:spLocks noGrp="1"/>
          </p:cNvSpPr>
          <p:nvPr>
            <p:ph type="body" sz="quarter" idx="11" hasCustomPrompt="1"/>
          </p:nvPr>
        </p:nvSpPr>
        <p:spPr>
          <a:xfrm>
            <a:off x="3782435" y="3392996"/>
            <a:ext cx="5071002" cy="576064"/>
          </a:xfrm>
        </p:spPr>
        <p:txBody>
          <a:bodyPr/>
          <a:lstStyle>
            <a:lvl1pPr>
              <a:defRPr sz="4767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Sous-titre</a:t>
            </a:r>
          </a:p>
        </p:txBody>
      </p:sp>
      <p:sp>
        <p:nvSpPr>
          <p:cNvPr id="14" name="Espace réservé du texte 28"/>
          <p:cNvSpPr>
            <a:spLocks noGrp="1"/>
          </p:cNvSpPr>
          <p:nvPr>
            <p:ph type="body" sz="quarter" idx="12" hasCustomPrompt="1"/>
          </p:nvPr>
        </p:nvSpPr>
        <p:spPr>
          <a:xfrm>
            <a:off x="3782875" y="4005071"/>
            <a:ext cx="5071002" cy="396093"/>
          </a:xfrm>
        </p:spPr>
        <p:txBody>
          <a:bodyPr/>
          <a:lstStyle>
            <a:lvl1pPr>
              <a:defRPr sz="3033">
                <a:solidFill>
                  <a:schemeClr val="bg2"/>
                </a:solidFill>
              </a:defRPr>
            </a:lvl1pPr>
          </a:lstStyle>
          <a:p>
            <a:pPr lvl="0"/>
            <a:r>
              <a:rPr lang="fr-FR"/>
              <a:t>00/00/0000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7553FA81-B58C-4618-8A3E-7858C1F01FB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95537" y="332657"/>
            <a:ext cx="2032182" cy="595107"/>
          </a:xfrm>
          <a:prstGeom prst="rect">
            <a:avLst/>
          </a:prstGeom>
        </p:spPr>
      </p:pic>
      <p:sp>
        <p:nvSpPr>
          <p:cNvPr id="9" name="Ellipse 8">
            <a:extLst>
              <a:ext uri="{FF2B5EF4-FFF2-40B4-BE49-F238E27FC236}">
                <a16:creationId xmlns:a16="http://schemas.microsoft.com/office/drawing/2014/main" id="{8C7CC470-FD02-4062-811D-BCC9F9FAD4C3}"/>
              </a:ext>
            </a:extLst>
          </p:cNvPr>
          <p:cNvSpPr/>
          <p:nvPr userDrawn="1"/>
        </p:nvSpPr>
        <p:spPr>
          <a:xfrm>
            <a:off x="395537" y="2074078"/>
            <a:ext cx="2783270" cy="278327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27835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e &amp; chiffres import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379454" y="8620"/>
            <a:ext cx="9137054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/>
              <a:t>Cliquez pour modifier le titre</a:t>
            </a:r>
          </a:p>
        </p:txBody>
      </p:sp>
      <p:sp>
        <p:nvSpPr>
          <p:cNvPr id="36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156018" y="6250680"/>
            <a:ext cx="425757" cy="500814"/>
          </a:xfrm>
        </p:spPr>
        <p:txBody>
          <a:bodyPr anchor="b" anchorCtr="0"/>
          <a:lstStyle>
            <a:lvl1pPr algn="r">
              <a:defRPr sz="1517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/>
              <a:t>00.</a:t>
            </a:r>
          </a:p>
        </p:txBody>
      </p:sp>
      <p:sp>
        <p:nvSpPr>
          <p:cNvPr id="37" name="Espace réservé du texte 11"/>
          <p:cNvSpPr>
            <a:spLocks noGrp="1"/>
          </p:cNvSpPr>
          <p:nvPr>
            <p:ph type="body" sz="quarter" idx="14" hasCustomPrompt="1"/>
          </p:nvPr>
        </p:nvSpPr>
        <p:spPr>
          <a:xfrm>
            <a:off x="662528" y="6250680"/>
            <a:ext cx="6708745" cy="500814"/>
          </a:xfrm>
        </p:spPr>
        <p:txBody>
          <a:bodyPr anchor="b" anchorCtr="0"/>
          <a:lstStyle>
            <a:lvl1pPr algn="l">
              <a:defRPr sz="1517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/>
              <a:t>Cliquez pour insérer le titre de chapitre</a:t>
            </a:r>
          </a:p>
        </p:txBody>
      </p:sp>
      <p:sp>
        <p:nvSpPr>
          <p:cNvPr id="22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9469456" y="6429211"/>
            <a:ext cx="710129" cy="312165"/>
          </a:xfrm>
          <a:prstGeom prst="rect">
            <a:avLst/>
          </a:prstGeom>
        </p:spPr>
        <p:txBody>
          <a:bodyPr/>
          <a:lstStyle>
            <a:lvl1pPr>
              <a:defRPr sz="1300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fld id="{19858401-1896-4F80-9B2B-186795E41C27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23" name="Connecteur droit 22">
            <a:extLst>
              <a:ext uri="{FF2B5EF4-FFF2-40B4-BE49-F238E27FC236}">
                <a16:creationId xmlns:a16="http://schemas.microsoft.com/office/drawing/2014/main" id="{160D7922-6446-4990-8730-D8CA9141ACDF}"/>
              </a:ext>
            </a:extLst>
          </p:cNvPr>
          <p:cNvCxnSpPr/>
          <p:nvPr userDrawn="1"/>
        </p:nvCxnSpPr>
        <p:spPr>
          <a:xfrm>
            <a:off x="3995936" y="2096852"/>
            <a:ext cx="180020" cy="756084"/>
          </a:xfrm>
          <a:prstGeom prst="line">
            <a:avLst/>
          </a:prstGeom>
          <a:ln cap="rnd">
            <a:solidFill>
              <a:schemeClr val="accent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Connecteur droit 23">
            <a:extLst>
              <a:ext uri="{FF2B5EF4-FFF2-40B4-BE49-F238E27FC236}">
                <a16:creationId xmlns:a16="http://schemas.microsoft.com/office/drawing/2014/main" id="{EECBB287-BD1A-4BF7-B937-349728A34109}"/>
              </a:ext>
            </a:extLst>
          </p:cNvPr>
          <p:cNvCxnSpPr/>
          <p:nvPr userDrawn="1"/>
        </p:nvCxnSpPr>
        <p:spPr>
          <a:xfrm>
            <a:off x="1727684" y="3212976"/>
            <a:ext cx="1332148" cy="252028"/>
          </a:xfrm>
          <a:prstGeom prst="line">
            <a:avLst/>
          </a:prstGeom>
          <a:ln cap="rnd">
            <a:solidFill>
              <a:schemeClr val="accent5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B4AC0697-6C88-4A97-A6C1-F2079FB70476}"/>
              </a:ext>
            </a:extLst>
          </p:cNvPr>
          <p:cNvCxnSpPr/>
          <p:nvPr userDrawn="1"/>
        </p:nvCxnSpPr>
        <p:spPr>
          <a:xfrm flipV="1">
            <a:off x="3383868" y="3969060"/>
            <a:ext cx="468052" cy="1224136"/>
          </a:xfrm>
          <a:prstGeom prst="line">
            <a:avLst/>
          </a:prstGeom>
          <a:ln cap="rnd">
            <a:solidFill>
              <a:schemeClr val="accent4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Connecteur droit 28">
            <a:extLst>
              <a:ext uri="{FF2B5EF4-FFF2-40B4-BE49-F238E27FC236}">
                <a16:creationId xmlns:a16="http://schemas.microsoft.com/office/drawing/2014/main" id="{EFC7C871-9F03-4E03-9071-BD6D444CD731}"/>
              </a:ext>
            </a:extLst>
          </p:cNvPr>
          <p:cNvCxnSpPr/>
          <p:nvPr userDrawn="1"/>
        </p:nvCxnSpPr>
        <p:spPr>
          <a:xfrm flipH="1" flipV="1">
            <a:off x="4860034" y="3969060"/>
            <a:ext cx="1548171" cy="1044116"/>
          </a:xfrm>
          <a:prstGeom prst="line">
            <a:avLst/>
          </a:prstGeom>
          <a:ln cap="rnd">
            <a:solidFill>
              <a:schemeClr val="accent3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>
            <a:extLst>
              <a:ext uri="{FF2B5EF4-FFF2-40B4-BE49-F238E27FC236}">
                <a16:creationId xmlns:a16="http://schemas.microsoft.com/office/drawing/2014/main" id="{0DF53256-4F91-49B5-A0EB-F5682664B991}"/>
              </a:ext>
            </a:extLst>
          </p:cNvPr>
          <p:cNvCxnSpPr/>
          <p:nvPr userDrawn="1"/>
        </p:nvCxnSpPr>
        <p:spPr>
          <a:xfrm flipH="1">
            <a:off x="5472100" y="2132856"/>
            <a:ext cx="1476164" cy="900100"/>
          </a:xfrm>
          <a:prstGeom prst="line">
            <a:avLst/>
          </a:prstGeom>
          <a:ln cap="rnd">
            <a:solidFill>
              <a:schemeClr val="accent2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Espace réservé du texte 2">
            <a:extLst>
              <a:ext uri="{FF2B5EF4-FFF2-40B4-BE49-F238E27FC236}">
                <a16:creationId xmlns:a16="http://schemas.microsoft.com/office/drawing/2014/main" id="{79919CA6-A61D-47E8-96DD-BD3FE3E921A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47865" y="2960948"/>
            <a:ext cx="2664297" cy="900100"/>
          </a:xfrm>
        </p:spPr>
        <p:txBody>
          <a:bodyPr anchor="ctr" anchorCtr="0"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0" name="Ellipse 39">
            <a:extLst>
              <a:ext uri="{FF2B5EF4-FFF2-40B4-BE49-F238E27FC236}">
                <a16:creationId xmlns:a16="http://schemas.microsoft.com/office/drawing/2014/main" id="{2A50CB42-8DC1-442A-A406-ACC4FEE70045}"/>
              </a:ext>
            </a:extLst>
          </p:cNvPr>
          <p:cNvSpPr/>
          <p:nvPr userDrawn="1"/>
        </p:nvSpPr>
        <p:spPr>
          <a:xfrm>
            <a:off x="2951820" y="764705"/>
            <a:ext cx="1898393" cy="18983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err="1">
              <a:solidFill>
                <a:schemeClr val="tx1"/>
              </a:solidFill>
            </a:endParaRPr>
          </a:p>
        </p:txBody>
      </p:sp>
      <p:sp>
        <p:nvSpPr>
          <p:cNvPr id="41" name="Ellipse 40">
            <a:extLst>
              <a:ext uri="{FF2B5EF4-FFF2-40B4-BE49-F238E27FC236}">
                <a16:creationId xmlns:a16="http://schemas.microsoft.com/office/drawing/2014/main" id="{3933BB7B-4546-47F2-BC22-44F25FBFA3C3}"/>
              </a:ext>
            </a:extLst>
          </p:cNvPr>
          <p:cNvSpPr/>
          <p:nvPr userDrawn="1"/>
        </p:nvSpPr>
        <p:spPr>
          <a:xfrm>
            <a:off x="6129991" y="1190465"/>
            <a:ext cx="1898393" cy="18983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err="1">
              <a:solidFill>
                <a:schemeClr val="tx1"/>
              </a:solidFill>
            </a:endParaRPr>
          </a:p>
        </p:txBody>
      </p:sp>
      <p:sp>
        <p:nvSpPr>
          <p:cNvPr id="42" name="Ellipse 41">
            <a:extLst>
              <a:ext uri="{FF2B5EF4-FFF2-40B4-BE49-F238E27FC236}">
                <a16:creationId xmlns:a16="http://schemas.microsoft.com/office/drawing/2014/main" id="{0E635663-D3FF-40C2-BA51-CD6B6D583BE1}"/>
              </a:ext>
            </a:extLst>
          </p:cNvPr>
          <p:cNvSpPr/>
          <p:nvPr userDrawn="1"/>
        </p:nvSpPr>
        <p:spPr>
          <a:xfrm>
            <a:off x="719573" y="2240869"/>
            <a:ext cx="1898393" cy="1898393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err="1">
              <a:solidFill>
                <a:schemeClr val="tx1"/>
              </a:solidFill>
            </a:endParaRPr>
          </a:p>
        </p:txBody>
      </p:sp>
      <p:sp>
        <p:nvSpPr>
          <p:cNvPr id="43" name="Ellipse 42">
            <a:extLst>
              <a:ext uri="{FF2B5EF4-FFF2-40B4-BE49-F238E27FC236}">
                <a16:creationId xmlns:a16="http://schemas.microsoft.com/office/drawing/2014/main" id="{A58C367D-FC47-48AF-AA4E-57BAFAFCD109}"/>
              </a:ext>
            </a:extLst>
          </p:cNvPr>
          <p:cNvSpPr/>
          <p:nvPr userDrawn="1"/>
        </p:nvSpPr>
        <p:spPr>
          <a:xfrm>
            <a:off x="2415033" y="4283278"/>
            <a:ext cx="1898393" cy="189839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err="1">
              <a:solidFill>
                <a:schemeClr val="tx1"/>
              </a:solidFill>
            </a:endParaRPr>
          </a:p>
        </p:txBody>
      </p:sp>
      <p:sp>
        <p:nvSpPr>
          <p:cNvPr id="44" name="Ellipse 43">
            <a:extLst>
              <a:ext uri="{FF2B5EF4-FFF2-40B4-BE49-F238E27FC236}">
                <a16:creationId xmlns:a16="http://schemas.microsoft.com/office/drawing/2014/main" id="{99E5482B-8E61-4C0E-9FB4-A6272760A3DD}"/>
              </a:ext>
            </a:extLst>
          </p:cNvPr>
          <p:cNvSpPr/>
          <p:nvPr userDrawn="1"/>
        </p:nvSpPr>
        <p:spPr>
          <a:xfrm>
            <a:off x="5442642" y="4005065"/>
            <a:ext cx="1898393" cy="189839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err="1">
              <a:solidFill>
                <a:schemeClr val="tx1"/>
              </a:solidFill>
            </a:endParaRPr>
          </a:p>
        </p:txBody>
      </p:sp>
      <p:sp>
        <p:nvSpPr>
          <p:cNvPr id="45" name="Espace réservé du texte 21">
            <a:extLst>
              <a:ext uri="{FF2B5EF4-FFF2-40B4-BE49-F238E27FC236}">
                <a16:creationId xmlns:a16="http://schemas.microsoft.com/office/drawing/2014/main" id="{79E56E79-1472-4852-9BBE-102A536C882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572" y="2240869"/>
            <a:ext cx="1908212" cy="1918030"/>
          </a:xfrm>
          <a:noFill/>
        </p:spPr>
        <p:txBody>
          <a:bodyPr lIns="0" tIns="0" rIns="0" bIns="0" numCol="1" anchor="ctr" anchorCtr="0"/>
          <a:lstStyle>
            <a:lvl1pPr marL="388783" indent="0" algn="l">
              <a:spcAft>
                <a:spcPts val="0"/>
              </a:spcAft>
              <a:defRPr sz="2799" b="0">
                <a:solidFill>
                  <a:schemeClr val="bg1"/>
                </a:solidFill>
              </a:defRPr>
            </a:lvl1pPr>
            <a:lvl2pPr marL="388783" indent="0" algn="l">
              <a:lnSpc>
                <a:spcPct val="100000"/>
              </a:lnSpc>
              <a:defRPr sz="1200" b="0" baseline="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46" name="Espace réservé du texte 21">
            <a:extLst>
              <a:ext uri="{FF2B5EF4-FFF2-40B4-BE49-F238E27FC236}">
                <a16:creationId xmlns:a16="http://schemas.microsoft.com/office/drawing/2014/main" id="{7C3C4FAF-C595-41E6-B18F-61704679262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084168" y="1226468"/>
            <a:ext cx="1944216" cy="1914500"/>
          </a:xfrm>
          <a:noFill/>
        </p:spPr>
        <p:txBody>
          <a:bodyPr lIns="0" tIns="0" rIns="0" bIns="0" numCol="1" anchor="ctr" anchorCtr="0"/>
          <a:lstStyle>
            <a:lvl1pPr marL="388783" indent="0" algn="l">
              <a:spcAft>
                <a:spcPts val="599"/>
              </a:spcAft>
              <a:defRPr sz="2401" b="0" cap="all" baseline="0">
                <a:solidFill>
                  <a:schemeClr val="bg1"/>
                </a:solidFill>
              </a:defRPr>
            </a:lvl1pPr>
            <a:lvl2pPr marL="388783" indent="0" algn="l">
              <a:lnSpc>
                <a:spcPct val="100000"/>
              </a:lnSpc>
              <a:defRPr sz="1400" b="0" baseline="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47" name="Espace réservé du texte 21">
            <a:extLst>
              <a:ext uri="{FF2B5EF4-FFF2-40B4-BE49-F238E27FC236}">
                <a16:creationId xmlns:a16="http://schemas.microsoft.com/office/drawing/2014/main" id="{6598A32A-181B-4903-8307-9B3E17A5E16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436096" y="4005065"/>
            <a:ext cx="1908212" cy="1918030"/>
          </a:xfrm>
          <a:noFill/>
        </p:spPr>
        <p:txBody>
          <a:bodyPr lIns="0" tIns="0" rIns="0" bIns="0" numCol="1" anchor="ctr" anchorCtr="0"/>
          <a:lstStyle>
            <a:lvl1pPr marL="388783" indent="0" algn="l">
              <a:spcAft>
                <a:spcPts val="0"/>
              </a:spcAft>
              <a:defRPr sz="2401" b="0">
                <a:solidFill>
                  <a:schemeClr val="bg1"/>
                </a:solidFill>
              </a:defRPr>
            </a:lvl1pPr>
            <a:lvl2pPr marL="388783" indent="0" algn="l">
              <a:lnSpc>
                <a:spcPct val="100000"/>
              </a:lnSpc>
              <a:defRPr sz="1101" b="0" baseline="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48" name="Espace réservé du texte 21">
            <a:extLst>
              <a:ext uri="{FF2B5EF4-FFF2-40B4-BE49-F238E27FC236}">
                <a16:creationId xmlns:a16="http://schemas.microsoft.com/office/drawing/2014/main" id="{8570484C-87D1-41A4-825F-F77893D9348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375756" y="4257092"/>
            <a:ext cx="1944216" cy="1914500"/>
          </a:xfrm>
          <a:noFill/>
        </p:spPr>
        <p:txBody>
          <a:bodyPr lIns="0" tIns="0" rIns="0" bIns="0" numCol="1" anchor="ctr" anchorCtr="0"/>
          <a:lstStyle>
            <a:lvl1pPr marL="388783" indent="0" algn="l">
              <a:spcAft>
                <a:spcPts val="599"/>
              </a:spcAft>
              <a:defRPr sz="2000" b="0" cap="none" baseline="0">
                <a:solidFill>
                  <a:srgbClr val="FFFFFF"/>
                </a:solidFill>
              </a:defRPr>
            </a:lvl1pPr>
            <a:lvl2pPr marL="388783" indent="0" algn="l">
              <a:lnSpc>
                <a:spcPct val="100000"/>
              </a:lnSpc>
              <a:defRPr sz="1200" b="0" cap="none" baseline="0">
                <a:solidFill>
                  <a:srgbClr val="FFFFFF"/>
                </a:solidFill>
                <a:latin typeface="+mj-lt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49" name="Espace réservé du texte 21">
            <a:extLst>
              <a:ext uri="{FF2B5EF4-FFF2-40B4-BE49-F238E27FC236}">
                <a16:creationId xmlns:a16="http://schemas.microsoft.com/office/drawing/2014/main" id="{91396965-3136-48C7-B6A4-C6EBA1D0E2B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951821" y="728700"/>
            <a:ext cx="1908212" cy="1908212"/>
          </a:xfrm>
          <a:noFill/>
        </p:spPr>
        <p:txBody>
          <a:bodyPr lIns="0" tIns="0" rIns="0" bIns="0" numCol="1" anchor="ctr" anchorCtr="0"/>
          <a:lstStyle>
            <a:lvl1pPr marL="388783" indent="0" algn="l">
              <a:spcAft>
                <a:spcPts val="0"/>
              </a:spcAft>
              <a:defRPr sz="2401" b="0">
                <a:solidFill>
                  <a:schemeClr val="tx2"/>
                </a:solidFill>
              </a:defRPr>
            </a:lvl1pPr>
            <a:lvl2pPr marL="388783" indent="0" algn="l">
              <a:lnSpc>
                <a:spcPct val="100000"/>
              </a:lnSpc>
              <a:defRPr sz="1101" b="0" baseline="0">
                <a:solidFill>
                  <a:schemeClr val="tx2"/>
                </a:solidFill>
                <a:latin typeface="+mj-lt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73176667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e &amp; chiffres import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379454" y="8620"/>
            <a:ext cx="9137054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/>
              <a:t>Cliquez pour modifier le titre</a:t>
            </a:r>
          </a:p>
        </p:txBody>
      </p:sp>
      <p:sp>
        <p:nvSpPr>
          <p:cNvPr id="36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156018" y="6250680"/>
            <a:ext cx="425757" cy="500814"/>
          </a:xfrm>
        </p:spPr>
        <p:txBody>
          <a:bodyPr anchor="b" anchorCtr="0"/>
          <a:lstStyle>
            <a:lvl1pPr algn="r">
              <a:defRPr sz="1517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/>
              <a:t>00.</a:t>
            </a:r>
          </a:p>
        </p:txBody>
      </p:sp>
      <p:sp>
        <p:nvSpPr>
          <p:cNvPr id="37" name="Espace réservé du texte 11"/>
          <p:cNvSpPr>
            <a:spLocks noGrp="1"/>
          </p:cNvSpPr>
          <p:nvPr>
            <p:ph type="body" sz="quarter" idx="14" hasCustomPrompt="1"/>
          </p:nvPr>
        </p:nvSpPr>
        <p:spPr>
          <a:xfrm>
            <a:off x="662528" y="6250680"/>
            <a:ext cx="6708745" cy="500814"/>
          </a:xfrm>
        </p:spPr>
        <p:txBody>
          <a:bodyPr anchor="b" anchorCtr="0"/>
          <a:lstStyle>
            <a:lvl1pPr algn="l">
              <a:defRPr sz="1517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/>
              <a:t>Cliquez pour insérer le titre de chapitre</a:t>
            </a:r>
          </a:p>
        </p:txBody>
      </p:sp>
      <p:sp>
        <p:nvSpPr>
          <p:cNvPr id="22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9469456" y="6429211"/>
            <a:ext cx="710129" cy="312165"/>
          </a:xfrm>
          <a:prstGeom prst="rect">
            <a:avLst/>
          </a:prstGeom>
        </p:spPr>
        <p:txBody>
          <a:bodyPr/>
          <a:lstStyle>
            <a:lvl1pPr>
              <a:defRPr sz="1300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fld id="{19858401-1896-4F80-9B2B-186795E41C27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9" name="Connecteur droit 18">
            <a:extLst>
              <a:ext uri="{FF2B5EF4-FFF2-40B4-BE49-F238E27FC236}">
                <a16:creationId xmlns:a16="http://schemas.microsoft.com/office/drawing/2014/main" id="{7EDAC262-0923-462D-B3AA-5EBE99CC44FE}"/>
              </a:ext>
            </a:extLst>
          </p:cNvPr>
          <p:cNvCxnSpPr/>
          <p:nvPr userDrawn="1"/>
        </p:nvCxnSpPr>
        <p:spPr>
          <a:xfrm flipV="1">
            <a:off x="1871701" y="2672916"/>
            <a:ext cx="828091" cy="288032"/>
          </a:xfrm>
          <a:prstGeom prst="line">
            <a:avLst/>
          </a:prstGeom>
          <a:ln cap="rnd">
            <a:solidFill>
              <a:schemeClr val="tx2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Ellipse 19">
            <a:extLst>
              <a:ext uri="{FF2B5EF4-FFF2-40B4-BE49-F238E27FC236}">
                <a16:creationId xmlns:a16="http://schemas.microsoft.com/office/drawing/2014/main" id="{B7A21CA5-0207-4C3E-90C3-7DD273116005}"/>
              </a:ext>
            </a:extLst>
          </p:cNvPr>
          <p:cNvSpPr/>
          <p:nvPr userDrawn="1"/>
        </p:nvSpPr>
        <p:spPr>
          <a:xfrm>
            <a:off x="-1368658" y="1832542"/>
            <a:ext cx="3363119" cy="3363119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err="1">
              <a:solidFill>
                <a:schemeClr val="tx1"/>
              </a:solidFill>
            </a:endParaRPr>
          </a:p>
        </p:txBody>
      </p: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5FF5AADA-ABA9-4C87-A162-8DD1F42FEB11}"/>
              </a:ext>
            </a:extLst>
          </p:cNvPr>
          <p:cNvCxnSpPr/>
          <p:nvPr userDrawn="1"/>
        </p:nvCxnSpPr>
        <p:spPr>
          <a:xfrm>
            <a:off x="1799693" y="4185085"/>
            <a:ext cx="1620180" cy="432048"/>
          </a:xfrm>
          <a:prstGeom prst="line">
            <a:avLst/>
          </a:prstGeom>
          <a:ln cap="rnd">
            <a:solidFill>
              <a:schemeClr val="tx2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Espace réservé du texte 21">
            <a:extLst>
              <a:ext uri="{FF2B5EF4-FFF2-40B4-BE49-F238E27FC236}">
                <a16:creationId xmlns:a16="http://schemas.microsoft.com/office/drawing/2014/main" id="{B29715FA-9373-4C2C-8517-F717D2F31AA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43509" y="2600908"/>
            <a:ext cx="1908212" cy="1908212"/>
          </a:xfrm>
          <a:noFill/>
        </p:spPr>
        <p:txBody>
          <a:bodyPr lIns="0" tIns="0" rIns="0" bIns="0" numCol="1" anchor="ctr" anchorCtr="0"/>
          <a:lstStyle>
            <a:lvl1pPr marL="388783" indent="0" algn="l">
              <a:spcAft>
                <a:spcPts val="0"/>
              </a:spcAft>
              <a:defRPr sz="4000" b="0">
                <a:solidFill>
                  <a:schemeClr val="bg2"/>
                </a:solidFill>
              </a:defRPr>
            </a:lvl1pPr>
            <a:lvl2pPr marL="388783" indent="0" algn="l">
              <a:lnSpc>
                <a:spcPct val="100000"/>
              </a:lnSpc>
              <a:defRPr sz="2401" b="0" baseline="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fr-FR"/>
              <a:t>XXX</a:t>
            </a:r>
          </a:p>
          <a:p>
            <a:pPr lvl="1"/>
            <a:r>
              <a:rPr lang="fr-FR"/>
              <a:t>Texte</a:t>
            </a: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3A34D903-599D-47A5-A3ED-92C29861F182}"/>
              </a:ext>
            </a:extLst>
          </p:cNvPr>
          <p:cNvSpPr/>
          <p:nvPr userDrawn="1"/>
        </p:nvSpPr>
        <p:spPr>
          <a:xfrm>
            <a:off x="2663788" y="1412777"/>
            <a:ext cx="1898393" cy="18983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err="1">
              <a:solidFill>
                <a:schemeClr val="tx1"/>
              </a:solidFill>
            </a:endParaRPr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79AE7131-36C2-4915-B47D-39BCF2AFBFDF}"/>
              </a:ext>
            </a:extLst>
          </p:cNvPr>
          <p:cNvSpPr/>
          <p:nvPr userDrawn="1"/>
        </p:nvSpPr>
        <p:spPr>
          <a:xfrm>
            <a:off x="3419872" y="3825045"/>
            <a:ext cx="1898393" cy="18983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err="1">
              <a:solidFill>
                <a:schemeClr val="tx1"/>
              </a:solidFill>
            </a:endParaRPr>
          </a:p>
        </p:txBody>
      </p:sp>
      <p:sp>
        <p:nvSpPr>
          <p:cNvPr id="28" name="Espace réservé du texte 21">
            <a:extLst>
              <a:ext uri="{FF2B5EF4-FFF2-40B4-BE49-F238E27FC236}">
                <a16:creationId xmlns:a16="http://schemas.microsoft.com/office/drawing/2014/main" id="{A9F7F641-6BFC-43B6-9AEF-C2C12ADF300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663788" y="1340768"/>
            <a:ext cx="1908212" cy="1908212"/>
          </a:xfrm>
          <a:noFill/>
        </p:spPr>
        <p:txBody>
          <a:bodyPr lIns="0" tIns="0" rIns="0" bIns="0" numCol="1" anchor="ctr" anchorCtr="0"/>
          <a:lstStyle>
            <a:lvl1pPr marL="388783" indent="0" algn="l">
              <a:spcAft>
                <a:spcPts val="0"/>
              </a:spcAft>
              <a:defRPr sz="3599" b="0">
                <a:solidFill>
                  <a:schemeClr val="tx2"/>
                </a:solidFill>
              </a:defRPr>
            </a:lvl1pPr>
            <a:lvl2pPr marL="388783" indent="0" algn="l">
              <a:lnSpc>
                <a:spcPct val="100000"/>
              </a:lnSpc>
              <a:defRPr sz="2000" b="0" baseline="0">
                <a:solidFill>
                  <a:schemeClr val="tx2"/>
                </a:solidFill>
                <a:latin typeface="+mj-lt"/>
              </a:defRPr>
            </a:lvl2pPr>
          </a:lstStyle>
          <a:p>
            <a:pPr lvl="0"/>
            <a:r>
              <a:rPr lang="fr-FR"/>
              <a:t>XXX</a:t>
            </a:r>
          </a:p>
          <a:p>
            <a:pPr lvl="1"/>
            <a:r>
              <a:rPr lang="fr-FR"/>
              <a:t>texte</a:t>
            </a:r>
          </a:p>
        </p:txBody>
      </p:sp>
      <p:sp>
        <p:nvSpPr>
          <p:cNvPr id="31" name="Espace réservé du texte 21">
            <a:extLst>
              <a:ext uri="{FF2B5EF4-FFF2-40B4-BE49-F238E27FC236}">
                <a16:creationId xmlns:a16="http://schemas.microsoft.com/office/drawing/2014/main" id="{D2A5695B-167E-499E-9CE4-3D5C49DD220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419873" y="3825044"/>
            <a:ext cx="1908212" cy="1908212"/>
          </a:xfrm>
          <a:noFill/>
        </p:spPr>
        <p:txBody>
          <a:bodyPr lIns="0" tIns="0" rIns="0" bIns="0" numCol="1" anchor="ctr" anchorCtr="0"/>
          <a:lstStyle>
            <a:lvl1pPr marL="388783" indent="0" algn="l">
              <a:spcAft>
                <a:spcPts val="0"/>
              </a:spcAft>
              <a:defRPr sz="3599" b="0">
                <a:solidFill>
                  <a:schemeClr val="tx2"/>
                </a:solidFill>
              </a:defRPr>
            </a:lvl1pPr>
            <a:lvl2pPr marL="388783" indent="0" algn="l">
              <a:lnSpc>
                <a:spcPct val="100000"/>
              </a:lnSpc>
              <a:defRPr sz="2000" b="0" baseline="0">
                <a:solidFill>
                  <a:schemeClr val="tx2"/>
                </a:solidFill>
                <a:latin typeface="+mj-lt"/>
              </a:defRPr>
            </a:lvl2pPr>
          </a:lstStyle>
          <a:p>
            <a:pPr lvl="0"/>
            <a:r>
              <a:rPr lang="fr-FR"/>
              <a:t>XXX</a:t>
            </a:r>
          </a:p>
          <a:p>
            <a:pPr lvl="1"/>
            <a:r>
              <a:rPr lang="fr-FR"/>
              <a:t>texte</a:t>
            </a:r>
          </a:p>
        </p:txBody>
      </p:sp>
      <p:cxnSp>
        <p:nvCxnSpPr>
          <p:cNvPr id="32" name="Connecteur droit 31">
            <a:extLst>
              <a:ext uri="{FF2B5EF4-FFF2-40B4-BE49-F238E27FC236}">
                <a16:creationId xmlns:a16="http://schemas.microsoft.com/office/drawing/2014/main" id="{F392363A-3157-4C92-A595-89064DE954EE}"/>
              </a:ext>
            </a:extLst>
          </p:cNvPr>
          <p:cNvCxnSpPr/>
          <p:nvPr userDrawn="1"/>
        </p:nvCxnSpPr>
        <p:spPr>
          <a:xfrm flipV="1">
            <a:off x="4499992" y="1628800"/>
            <a:ext cx="864096" cy="396044"/>
          </a:xfrm>
          <a:prstGeom prst="line">
            <a:avLst/>
          </a:prstGeom>
          <a:ln cap="rnd">
            <a:solidFill>
              <a:schemeClr val="tx2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Connecteur droit 32">
            <a:extLst>
              <a:ext uri="{FF2B5EF4-FFF2-40B4-BE49-F238E27FC236}">
                <a16:creationId xmlns:a16="http://schemas.microsoft.com/office/drawing/2014/main" id="{D66A6A32-0372-4B11-8BD1-F89FBA43F61A}"/>
              </a:ext>
            </a:extLst>
          </p:cNvPr>
          <p:cNvCxnSpPr/>
          <p:nvPr userDrawn="1"/>
        </p:nvCxnSpPr>
        <p:spPr>
          <a:xfrm>
            <a:off x="4572001" y="2384884"/>
            <a:ext cx="2988332" cy="0"/>
          </a:xfrm>
          <a:prstGeom prst="line">
            <a:avLst/>
          </a:prstGeom>
          <a:ln cap="rnd">
            <a:solidFill>
              <a:schemeClr val="tx2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Espace réservé du texte 21">
            <a:extLst>
              <a:ext uri="{FF2B5EF4-FFF2-40B4-BE49-F238E27FC236}">
                <a16:creationId xmlns:a16="http://schemas.microsoft.com/office/drawing/2014/main" id="{3D24B1E6-9AFF-4E70-B28D-D4BB959630D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84068" y="1304764"/>
            <a:ext cx="2844316" cy="835248"/>
          </a:xfrm>
          <a:solidFill>
            <a:srgbClr val="FFFFFF"/>
          </a:solidFill>
        </p:spPr>
        <p:txBody>
          <a:bodyPr lIns="0" tIns="0" rIns="0" bIns="0" numCol="1" anchor="ctr" anchorCtr="0"/>
          <a:lstStyle>
            <a:lvl1pPr marL="100796" indent="0" algn="l">
              <a:spcAft>
                <a:spcPts val="0"/>
              </a:spcAft>
              <a:defRPr sz="2401" b="0">
                <a:solidFill>
                  <a:schemeClr val="tx2"/>
                </a:solidFill>
              </a:defRPr>
            </a:lvl1pPr>
            <a:lvl2pPr marL="100796" indent="0" algn="l">
              <a:lnSpc>
                <a:spcPct val="100000"/>
              </a:lnSpc>
              <a:defRPr sz="1400" b="0" baseline="0">
                <a:solidFill>
                  <a:schemeClr val="tx2"/>
                </a:solidFill>
                <a:latin typeface="+mj-lt"/>
              </a:defRPr>
            </a:lvl2pPr>
          </a:lstStyle>
          <a:p>
            <a:pPr lvl="0"/>
            <a:r>
              <a:rPr lang="fr-FR"/>
              <a:t>XXX</a:t>
            </a:r>
          </a:p>
          <a:p>
            <a:pPr lvl="1"/>
            <a:r>
              <a:rPr lang="fr-FR"/>
              <a:t>texte</a:t>
            </a:r>
          </a:p>
        </p:txBody>
      </p:sp>
      <p:sp>
        <p:nvSpPr>
          <p:cNvPr id="38" name="Espace réservé du texte 21">
            <a:extLst>
              <a:ext uri="{FF2B5EF4-FFF2-40B4-BE49-F238E27FC236}">
                <a16:creationId xmlns:a16="http://schemas.microsoft.com/office/drawing/2014/main" id="{E3CCCCB0-701A-4E5E-8A97-9E8D2798E2C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84069" y="2240868"/>
            <a:ext cx="1548171" cy="547216"/>
          </a:xfrm>
          <a:solidFill>
            <a:schemeClr val="bg1"/>
          </a:solidFill>
        </p:spPr>
        <p:txBody>
          <a:bodyPr lIns="0" tIns="0" rIns="0" bIns="0" numCol="1" anchor="ctr" anchorCtr="0"/>
          <a:lstStyle>
            <a:lvl1pPr marL="100796" indent="0" algn="l">
              <a:spcAft>
                <a:spcPts val="0"/>
              </a:spcAft>
              <a:defRPr sz="2401" b="0">
                <a:solidFill>
                  <a:schemeClr val="tx2"/>
                </a:solidFill>
              </a:defRPr>
            </a:lvl1pPr>
            <a:lvl2pPr marL="100796" indent="0" algn="l">
              <a:lnSpc>
                <a:spcPct val="100000"/>
              </a:lnSpc>
              <a:defRPr sz="1400" b="0" baseline="0">
                <a:solidFill>
                  <a:schemeClr val="tx2"/>
                </a:solidFill>
                <a:latin typeface="+mj-lt"/>
              </a:defRPr>
            </a:lvl2pPr>
          </a:lstStyle>
          <a:p>
            <a:pPr lvl="0"/>
            <a:r>
              <a:rPr lang="fr-FR"/>
              <a:t>XXX</a:t>
            </a:r>
          </a:p>
          <a:p>
            <a:pPr lvl="1"/>
            <a:r>
              <a:rPr lang="fr-FR"/>
              <a:t>texte</a:t>
            </a:r>
          </a:p>
        </p:txBody>
      </p:sp>
      <p:sp>
        <p:nvSpPr>
          <p:cNvPr id="39" name="Espace réservé du texte 21">
            <a:extLst>
              <a:ext uri="{FF2B5EF4-FFF2-40B4-BE49-F238E27FC236}">
                <a16:creationId xmlns:a16="http://schemas.microsoft.com/office/drawing/2014/main" id="{5E846E63-F106-4297-A998-2AF6259FC61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0294" y="2240868"/>
            <a:ext cx="1548171" cy="547216"/>
          </a:xfrm>
          <a:solidFill>
            <a:schemeClr val="bg1"/>
          </a:solidFill>
        </p:spPr>
        <p:txBody>
          <a:bodyPr lIns="0" tIns="0" rIns="0" bIns="0" numCol="1" anchor="ctr" anchorCtr="0"/>
          <a:lstStyle>
            <a:lvl1pPr marL="100796" indent="0" algn="l">
              <a:spcAft>
                <a:spcPts val="0"/>
              </a:spcAft>
              <a:defRPr sz="2401" b="0">
                <a:solidFill>
                  <a:schemeClr val="tx2"/>
                </a:solidFill>
              </a:defRPr>
            </a:lvl1pPr>
            <a:lvl2pPr marL="100796" indent="0" algn="l">
              <a:lnSpc>
                <a:spcPct val="100000"/>
              </a:lnSpc>
              <a:defRPr sz="1400" b="0" baseline="0">
                <a:solidFill>
                  <a:schemeClr val="tx2"/>
                </a:solidFill>
                <a:latin typeface="+mj-lt"/>
              </a:defRPr>
            </a:lvl2pPr>
          </a:lstStyle>
          <a:p>
            <a:pPr lvl="0"/>
            <a:r>
              <a:rPr lang="fr-FR"/>
              <a:t>XXX</a:t>
            </a:r>
          </a:p>
          <a:p>
            <a:pPr lvl="1"/>
            <a:r>
              <a:rPr lang="fr-FR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11446107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e &amp; chiffres import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379454" y="8620"/>
            <a:ext cx="9137054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/>
              <a:t>Cliquez pour modifier le titre</a:t>
            </a:r>
          </a:p>
        </p:txBody>
      </p:sp>
      <p:sp>
        <p:nvSpPr>
          <p:cNvPr id="36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156018" y="6250680"/>
            <a:ext cx="425757" cy="500814"/>
          </a:xfrm>
        </p:spPr>
        <p:txBody>
          <a:bodyPr anchor="b" anchorCtr="0"/>
          <a:lstStyle>
            <a:lvl1pPr algn="r">
              <a:defRPr sz="1517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/>
              <a:t>00.</a:t>
            </a:r>
          </a:p>
        </p:txBody>
      </p:sp>
      <p:sp>
        <p:nvSpPr>
          <p:cNvPr id="37" name="Espace réservé du texte 11"/>
          <p:cNvSpPr>
            <a:spLocks noGrp="1"/>
          </p:cNvSpPr>
          <p:nvPr>
            <p:ph type="body" sz="quarter" idx="14" hasCustomPrompt="1"/>
          </p:nvPr>
        </p:nvSpPr>
        <p:spPr>
          <a:xfrm>
            <a:off x="662528" y="6250680"/>
            <a:ext cx="6708745" cy="500814"/>
          </a:xfrm>
        </p:spPr>
        <p:txBody>
          <a:bodyPr anchor="b" anchorCtr="0"/>
          <a:lstStyle>
            <a:lvl1pPr algn="l">
              <a:defRPr sz="1517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/>
              <a:t>Cliquez pour insérer le titre de chapitre</a:t>
            </a:r>
          </a:p>
        </p:txBody>
      </p:sp>
      <p:sp>
        <p:nvSpPr>
          <p:cNvPr id="22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9469456" y="6429211"/>
            <a:ext cx="710129" cy="312165"/>
          </a:xfrm>
          <a:prstGeom prst="rect">
            <a:avLst/>
          </a:prstGeom>
        </p:spPr>
        <p:txBody>
          <a:bodyPr/>
          <a:lstStyle>
            <a:lvl1pPr>
              <a:defRPr sz="1300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fld id="{19858401-1896-4F80-9B2B-186795E41C27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9FFD36EB-F48D-47DC-A4AE-5CFB11B7AE9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32440" y="1016733"/>
            <a:ext cx="4355784" cy="4807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50793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exte &amp; chiffres import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379454" y="8620"/>
            <a:ext cx="9137054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/>
              <a:t>Cliquez pour modifier le titre</a:t>
            </a:r>
          </a:p>
        </p:txBody>
      </p:sp>
      <p:sp>
        <p:nvSpPr>
          <p:cNvPr id="36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156018" y="6250680"/>
            <a:ext cx="425757" cy="500814"/>
          </a:xfrm>
        </p:spPr>
        <p:txBody>
          <a:bodyPr anchor="b" anchorCtr="0"/>
          <a:lstStyle>
            <a:lvl1pPr algn="r">
              <a:defRPr sz="1517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/>
              <a:t>00.</a:t>
            </a:r>
          </a:p>
        </p:txBody>
      </p:sp>
      <p:sp>
        <p:nvSpPr>
          <p:cNvPr id="37" name="Espace réservé du texte 11"/>
          <p:cNvSpPr>
            <a:spLocks noGrp="1"/>
          </p:cNvSpPr>
          <p:nvPr>
            <p:ph type="body" sz="quarter" idx="14" hasCustomPrompt="1"/>
          </p:nvPr>
        </p:nvSpPr>
        <p:spPr>
          <a:xfrm>
            <a:off x="662528" y="6250680"/>
            <a:ext cx="6708745" cy="500814"/>
          </a:xfrm>
        </p:spPr>
        <p:txBody>
          <a:bodyPr anchor="b" anchorCtr="0"/>
          <a:lstStyle>
            <a:lvl1pPr algn="l">
              <a:defRPr sz="1517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/>
              <a:t>Cliquez pour insérer le titre de chapitre</a:t>
            </a:r>
          </a:p>
        </p:txBody>
      </p:sp>
      <p:sp>
        <p:nvSpPr>
          <p:cNvPr id="22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9469456" y="6429211"/>
            <a:ext cx="710129" cy="312165"/>
          </a:xfrm>
          <a:prstGeom prst="rect">
            <a:avLst/>
          </a:prstGeom>
        </p:spPr>
        <p:txBody>
          <a:bodyPr/>
          <a:lstStyle>
            <a:lvl1pPr>
              <a:defRPr sz="1300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fld id="{19858401-1896-4F80-9B2B-186795E41C27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3D15D99A-F3E4-48CF-BB41-F7AA5D5372F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159734" y="1025448"/>
            <a:ext cx="4565703" cy="4807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265475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_jau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9906000" cy="68691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950" err="1">
              <a:solidFill>
                <a:schemeClr val="tx1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053000" y="1190626"/>
            <a:ext cx="7800000" cy="4476750"/>
          </a:xfrm>
        </p:spPr>
        <p:txBody>
          <a:bodyPr anchor="ctr" anchorCtr="0"/>
          <a:lstStyle>
            <a:lvl1pPr algn="ctr">
              <a:lnSpc>
                <a:spcPct val="85000"/>
              </a:lnSpc>
              <a:defRPr sz="3142">
                <a:solidFill>
                  <a:srgbClr val="5E514D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pic>
        <p:nvPicPr>
          <p:cNvPr id="5" name="Image 4" descr="LOGO Bpifrance 2015 impact_fond jaune_RV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4430" y="6469153"/>
            <a:ext cx="854058" cy="22612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in_jau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1" y="0"/>
            <a:ext cx="998455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950" err="1">
              <a:solidFill>
                <a:schemeClr val="tx1"/>
              </a:solidFill>
            </a:endParaRPr>
          </a:p>
        </p:txBody>
      </p:sp>
      <p:pic>
        <p:nvPicPr>
          <p:cNvPr id="4" name="Image 3" descr="SIGNATURE fond jaune_RVB.png">
            <a:extLst>
              <a:ext uri="{FF2B5EF4-FFF2-40B4-BE49-F238E27FC236}">
                <a16:creationId xmlns:a16="http://schemas.microsoft.com/office/drawing/2014/main" id="{6D241E23-15E7-4A3B-A5EC-A29CA4E85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2600" y="2600908"/>
            <a:ext cx="7236804" cy="1685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831069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uverture_fond_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956F82A1-0ED8-4448-9D28-4AF15D4C65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2607" y="2600908"/>
            <a:ext cx="7236798" cy="168549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titre + b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722A583-BAD4-40F7-AE0C-4F40D42D9A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6589241"/>
              </p:ext>
            </p:extLst>
          </p:nvPr>
        </p:nvGraphicFramePr>
        <p:xfrm>
          <a:off x="1721" y="1588"/>
          <a:ext cx="172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2" imgH="591" progId="TCLayout.ActiveDocument.1">
                  <p:embed/>
                </p:oleObj>
              </mc:Choice>
              <mc:Fallback>
                <p:oleObj name="Diapositive think-cell" r:id="rId3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722A583-BAD4-40F7-AE0C-4F40D42D9A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21" y="1588"/>
                        <a:ext cx="172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379455" y="181303"/>
            <a:ext cx="9135520" cy="64807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1"/>
            </a:lvl1pPr>
          </a:lstStyle>
          <a:p>
            <a:r>
              <a:rPr lang="fr-FR"/>
              <a:t>Cliquez pour modifier le titr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5"/>
          </p:nvPr>
        </p:nvSpPr>
        <p:spPr>
          <a:xfrm>
            <a:off x="388675" y="1051334"/>
            <a:ext cx="9128653" cy="493395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9469453" y="6429205"/>
            <a:ext cx="710129" cy="31216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fld id="{19858401-1896-4F80-9B2B-186795E41C2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9C77E95-1BEC-4523-A069-97C9DE8E62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8671" y="6481223"/>
            <a:ext cx="7957704" cy="292230"/>
          </a:xfrm>
        </p:spPr>
        <p:txBody>
          <a:bodyPr anchor="t"/>
          <a:lstStyle>
            <a:lvl1pPr>
              <a:defRPr sz="900" i="1">
                <a:solidFill>
                  <a:schemeClr val="tx2"/>
                </a:solidFill>
                <a:latin typeface="+mn-lt"/>
              </a:defRPr>
            </a:lvl1pPr>
            <a:lvl2pPr>
              <a:defRPr sz="900">
                <a:solidFill>
                  <a:schemeClr val="tx2"/>
                </a:solidFill>
                <a:latin typeface="+mn-lt"/>
              </a:defRPr>
            </a:lvl2pPr>
            <a:lvl3pPr>
              <a:defRPr sz="900">
                <a:solidFill>
                  <a:schemeClr val="tx2"/>
                </a:solidFill>
                <a:latin typeface="+mn-lt"/>
              </a:defRPr>
            </a:lvl3pPr>
            <a:lvl4pPr>
              <a:defRPr sz="900">
                <a:solidFill>
                  <a:schemeClr val="tx2"/>
                </a:solidFill>
                <a:latin typeface="+mn-lt"/>
              </a:defRPr>
            </a:lvl4pPr>
            <a:lvl5pPr>
              <a:defRPr sz="9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Sources :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743748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199" b="0" i="0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20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840944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glob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Espace réservé du texte 11"/>
          <p:cNvSpPr>
            <a:spLocks noGrp="1"/>
          </p:cNvSpPr>
          <p:nvPr>
            <p:ph type="body" sz="quarter" idx="25" hasCustomPrompt="1"/>
          </p:nvPr>
        </p:nvSpPr>
        <p:spPr>
          <a:xfrm>
            <a:off x="584513" y="585156"/>
            <a:ext cx="1025668" cy="949357"/>
          </a:xfrm>
        </p:spPr>
        <p:txBody>
          <a:bodyPr anchor="b" anchorCtr="0"/>
          <a:lstStyle>
            <a:lvl1pPr algn="dist">
              <a:defRPr sz="6065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/>
              <a:t>00.</a:t>
            </a:r>
          </a:p>
        </p:txBody>
      </p:sp>
      <p:sp>
        <p:nvSpPr>
          <p:cNvPr id="38" name="Espace réservé du texte 9"/>
          <p:cNvSpPr>
            <a:spLocks noGrp="1"/>
          </p:cNvSpPr>
          <p:nvPr>
            <p:ph type="body" sz="quarter" idx="26" hasCustomPrompt="1"/>
          </p:nvPr>
        </p:nvSpPr>
        <p:spPr>
          <a:xfrm>
            <a:off x="1754650" y="584684"/>
            <a:ext cx="7605845" cy="864096"/>
          </a:xfrm>
        </p:spPr>
        <p:txBody>
          <a:bodyPr anchor="b" anchorCtr="0"/>
          <a:lstStyle>
            <a:lvl1pPr>
              <a:spcAft>
                <a:spcPts val="0"/>
              </a:spcAft>
              <a:defRPr sz="26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ajouter du </a:t>
            </a:r>
            <a:r>
              <a:rPr lang="fr-FR" err="1"/>
              <a:t>txt</a:t>
            </a:r>
            <a:endParaRPr lang="fr-FR"/>
          </a:p>
        </p:txBody>
      </p:sp>
      <p:sp>
        <p:nvSpPr>
          <p:cNvPr id="41" name="Espace réservé du texte 11"/>
          <p:cNvSpPr>
            <a:spLocks noGrp="1"/>
          </p:cNvSpPr>
          <p:nvPr>
            <p:ph type="body" sz="quarter" idx="27" hasCustomPrompt="1"/>
          </p:nvPr>
        </p:nvSpPr>
        <p:spPr>
          <a:xfrm>
            <a:off x="584513" y="1608596"/>
            <a:ext cx="1025668" cy="949357"/>
          </a:xfrm>
        </p:spPr>
        <p:txBody>
          <a:bodyPr anchor="b" anchorCtr="0"/>
          <a:lstStyle>
            <a:lvl1pPr algn="dist">
              <a:defRPr sz="6065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/>
              <a:t>00.</a:t>
            </a:r>
          </a:p>
        </p:txBody>
      </p:sp>
      <p:sp>
        <p:nvSpPr>
          <p:cNvPr id="42" name="Espace réservé du texte 9"/>
          <p:cNvSpPr>
            <a:spLocks noGrp="1"/>
          </p:cNvSpPr>
          <p:nvPr>
            <p:ph type="body" sz="quarter" idx="28" hasCustomPrompt="1"/>
          </p:nvPr>
        </p:nvSpPr>
        <p:spPr>
          <a:xfrm>
            <a:off x="1754644" y="1608128"/>
            <a:ext cx="7606182" cy="864096"/>
          </a:xfrm>
        </p:spPr>
        <p:txBody>
          <a:bodyPr anchor="b" anchorCtr="0"/>
          <a:lstStyle>
            <a:lvl1pPr>
              <a:spcAft>
                <a:spcPts val="0"/>
              </a:spcAft>
              <a:defRPr sz="26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ajouter du </a:t>
            </a:r>
            <a:r>
              <a:rPr lang="fr-FR" err="1"/>
              <a:t>txt</a:t>
            </a:r>
            <a:endParaRPr lang="fr-FR"/>
          </a:p>
        </p:txBody>
      </p:sp>
      <p:sp>
        <p:nvSpPr>
          <p:cNvPr id="43" name="Espace réservé du texte 11"/>
          <p:cNvSpPr>
            <a:spLocks noGrp="1"/>
          </p:cNvSpPr>
          <p:nvPr>
            <p:ph type="body" sz="quarter" idx="29" hasCustomPrompt="1"/>
          </p:nvPr>
        </p:nvSpPr>
        <p:spPr>
          <a:xfrm>
            <a:off x="584513" y="2640902"/>
            <a:ext cx="1025668" cy="949357"/>
          </a:xfrm>
        </p:spPr>
        <p:txBody>
          <a:bodyPr anchor="b" anchorCtr="0"/>
          <a:lstStyle>
            <a:lvl1pPr algn="dist">
              <a:defRPr sz="6065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/>
              <a:t>00.</a:t>
            </a:r>
          </a:p>
        </p:txBody>
      </p:sp>
      <p:sp>
        <p:nvSpPr>
          <p:cNvPr id="44" name="Espace réservé du texte 9"/>
          <p:cNvSpPr>
            <a:spLocks noGrp="1"/>
          </p:cNvSpPr>
          <p:nvPr>
            <p:ph type="body" sz="quarter" idx="30" hasCustomPrompt="1"/>
          </p:nvPr>
        </p:nvSpPr>
        <p:spPr>
          <a:xfrm>
            <a:off x="1754644" y="2640430"/>
            <a:ext cx="7606182" cy="864096"/>
          </a:xfrm>
        </p:spPr>
        <p:txBody>
          <a:bodyPr anchor="b" anchorCtr="0"/>
          <a:lstStyle>
            <a:lvl1pPr>
              <a:spcAft>
                <a:spcPts val="0"/>
              </a:spcAft>
              <a:defRPr sz="26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ajouter du </a:t>
            </a:r>
            <a:r>
              <a:rPr lang="fr-FR" err="1"/>
              <a:t>txt</a:t>
            </a:r>
            <a:endParaRPr lang="fr-FR"/>
          </a:p>
        </p:txBody>
      </p:sp>
      <p:sp>
        <p:nvSpPr>
          <p:cNvPr id="45" name="Espace réservé du texte 11"/>
          <p:cNvSpPr>
            <a:spLocks noGrp="1"/>
          </p:cNvSpPr>
          <p:nvPr>
            <p:ph type="body" sz="quarter" idx="31" hasCustomPrompt="1"/>
          </p:nvPr>
        </p:nvSpPr>
        <p:spPr>
          <a:xfrm>
            <a:off x="584513" y="3672918"/>
            <a:ext cx="1025668" cy="949357"/>
          </a:xfrm>
        </p:spPr>
        <p:txBody>
          <a:bodyPr anchor="b" anchorCtr="0"/>
          <a:lstStyle>
            <a:lvl1pPr algn="dist">
              <a:defRPr sz="6065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/>
              <a:t>00.</a:t>
            </a:r>
          </a:p>
        </p:txBody>
      </p:sp>
      <p:sp>
        <p:nvSpPr>
          <p:cNvPr id="46" name="Espace réservé du texte 9"/>
          <p:cNvSpPr>
            <a:spLocks noGrp="1"/>
          </p:cNvSpPr>
          <p:nvPr>
            <p:ph type="body" sz="quarter" idx="32" hasCustomPrompt="1"/>
          </p:nvPr>
        </p:nvSpPr>
        <p:spPr>
          <a:xfrm>
            <a:off x="1754644" y="3672451"/>
            <a:ext cx="7606182" cy="864096"/>
          </a:xfrm>
        </p:spPr>
        <p:txBody>
          <a:bodyPr anchor="b" anchorCtr="0"/>
          <a:lstStyle>
            <a:lvl1pPr>
              <a:spcAft>
                <a:spcPts val="0"/>
              </a:spcAft>
              <a:defRPr sz="26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ajouter du </a:t>
            </a:r>
            <a:r>
              <a:rPr lang="fr-FR" err="1"/>
              <a:t>txt</a:t>
            </a:r>
            <a:endParaRPr lang="fr-FR"/>
          </a:p>
        </p:txBody>
      </p:sp>
      <p:sp>
        <p:nvSpPr>
          <p:cNvPr id="47" name="Espace réservé du texte 11"/>
          <p:cNvSpPr>
            <a:spLocks noGrp="1"/>
          </p:cNvSpPr>
          <p:nvPr>
            <p:ph type="body" sz="quarter" idx="33" hasCustomPrompt="1"/>
          </p:nvPr>
        </p:nvSpPr>
        <p:spPr>
          <a:xfrm>
            <a:off x="584513" y="4717039"/>
            <a:ext cx="1025668" cy="949357"/>
          </a:xfrm>
        </p:spPr>
        <p:txBody>
          <a:bodyPr anchor="b" anchorCtr="0"/>
          <a:lstStyle>
            <a:lvl1pPr algn="dist">
              <a:defRPr sz="6065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/>
              <a:t>00.</a:t>
            </a:r>
          </a:p>
        </p:txBody>
      </p:sp>
      <p:sp>
        <p:nvSpPr>
          <p:cNvPr id="48" name="Espace réservé du texte 9"/>
          <p:cNvSpPr>
            <a:spLocks noGrp="1"/>
          </p:cNvSpPr>
          <p:nvPr>
            <p:ph type="body" sz="quarter" idx="34" hasCustomPrompt="1"/>
          </p:nvPr>
        </p:nvSpPr>
        <p:spPr>
          <a:xfrm>
            <a:off x="1754644" y="4716567"/>
            <a:ext cx="7606182" cy="864096"/>
          </a:xfrm>
        </p:spPr>
        <p:txBody>
          <a:bodyPr anchor="b" anchorCtr="0"/>
          <a:lstStyle>
            <a:lvl1pPr>
              <a:spcAft>
                <a:spcPts val="0"/>
              </a:spcAft>
              <a:defRPr sz="26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Cliquez pour ajouter du </a:t>
            </a:r>
            <a:r>
              <a:rPr lang="fr-FR" err="1"/>
              <a:t>txt</a:t>
            </a:r>
            <a:endParaRPr lang="fr-FR"/>
          </a:p>
        </p:txBody>
      </p:sp>
      <p:pic>
        <p:nvPicPr>
          <p:cNvPr id="52" name="Image 5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047948"/>
            <a:ext cx="9906000" cy="825349"/>
          </a:xfrm>
          <a:prstGeom prst="rect">
            <a:avLst/>
          </a:prstGeom>
        </p:spPr>
      </p:pic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BFBB2E75-397F-400C-95DF-D9667252FD7F}"/>
              </a:ext>
            </a:extLst>
          </p:cNvPr>
          <p:cNvCxnSpPr/>
          <p:nvPr userDrawn="1"/>
        </p:nvCxnSpPr>
        <p:spPr bwMode="gray">
          <a:xfrm flipV="1">
            <a:off x="9422709" y="6453336"/>
            <a:ext cx="0" cy="216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space réservé du numéro de diapositive 2">
            <a:extLst>
              <a:ext uri="{FF2B5EF4-FFF2-40B4-BE49-F238E27FC236}">
                <a16:creationId xmlns:a16="http://schemas.microsoft.com/office/drawing/2014/main" id="{3557324A-C482-467A-92D5-21BA49158C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69456" y="6429211"/>
            <a:ext cx="710129" cy="312165"/>
          </a:xfrm>
          <a:prstGeom prst="rect">
            <a:avLst/>
          </a:prstGeom>
        </p:spPr>
        <p:txBody>
          <a:bodyPr/>
          <a:lstStyle>
            <a:lvl1pPr>
              <a:defRPr sz="1300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fld id="{19858401-1896-4F80-9B2B-186795E41C27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19" name="Image 18" descr="LOGO Bpifrance 2015 impact_fond jaune_RVB.png">
            <a:extLst>
              <a:ext uri="{FF2B5EF4-FFF2-40B4-BE49-F238E27FC236}">
                <a16:creationId xmlns:a16="http://schemas.microsoft.com/office/drawing/2014/main" id="{8865262B-91EB-48B2-9935-5728FBE9AD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5120" y="6469153"/>
            <a:ext cx="788360" cy="22612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 visuel modifi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550" y="8620"/>
            <a:ext cx="990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950" err="1">
              <a:solidFill>
                <a:schemeClr val="tx1"/>
              </a:solidFill>
            </a:endParaRPr>
          </a:p>
        </p:txBody>
      </p:sp>
      <p:grpSp>
        <p:nvGrpSpPr>
          <p:cNvPr id="11" name="Grouper 10"/>
          <p:cNvGrpSpPr/>
          <p:nvPr userDrawn="1"/>
        </p:nvGrpSpPr>
        <p:grpSpPr>
          <a:xfrm>
            <a:off x="0" y="-3756"/>
            <a:ext cx="9906000" cy="2197087"/>
            <a:chOff x="0" y="-3756"/>
            <a:chExt cx="9144000" cy="2197087"/>
          </a:xfrm>
        </p:grpSpPr>
        <p:sp>
          <p:nvSpPr>
            <p:cNvPr id="13" name="Rectangle 12"/>
            <p:cNvSpPr/>
            <p:nvPr userDrawn="1"/>
          </p:nvSpPr>
          <p:spPr>
            <a:xfrm>
              <a:off x="0" y="-3756"/>
              <a:ext cx="9144000" cy="181257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950" err="1">
                <a:solidFill>
                  <a:schemeClr val="tx1"/>
                </a:solidFill>
              </a:endParaRPr>
            </a:p>
          </p:txBody>
        </p:sp>
        <p:sp>
          <p:nvSpPr>
            <p:cNvPr id="15" name="Triangle rectangle 14"/>
            <p:cNvSpPr/>
            <p:nvPr userDrawn="1"/>
          </p:nvSpPr>
          <p:spPr>
            <a:xfrm flipV="1">
              <a:off x="0" y="1797287"/>
              <a:ext cx="9144000" cy="396044"/>
            </a:xfrm>
            <a:prstGeom prst="rtTriangl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950" err="1">
                <a:solidFill>
                  <a:schemeClr val="tx1"/>
                </a:solidFill>
              </a:endParaRPr>
            </a:p>
          </p:txBody>
        </p:sp>
      </p:grpSp>
      <p:sp>
        <p:nvSpPr>
          <p:cNvPr id="16" name="Titre 1"/>
          <p:cNvSpPr>
            <a:spLocks noGrp="1"/>
          </p:cNvSpPr>
          <p:nvPr>
            <p:ph type="ctrTitle" hasCustomPrompt="1"/>
          </p:nvPr>
        </p:nvSpPr>
        <p:spPr>
          <a:xfrm>
            <a:off x="311485" y="-810902"/>
            <a:ext cx="3471386" cy="3411810"/>
          </a:xfrm>
        </p:spPr>
        <p:txBody>
          <a:bodyPr anchor="b" anchorCtr="0"/>
          <a:lstStyle>
            <a:lvl1pPr algn="l">
              <a:defRPr sz="19498">
                <a:solidFill>
                  <a:schemeClr val="bg1"/>
                </a:solidFill>
              </a:defRPr>
            </a:lvl1pPr>
          </a:lstStyle>
          <a:p>
            <a:r>
              <a:rPr lang="fr-FR"/>
              <a:t>00.</a:t>
            </a:r>
          </a:p>
        </p:txBody>
      </p:sp>
      <p:sp>
        <p:nvSpPr>
          <p:cNvPr id="17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3860878" y="625419"/>
            <a:ext cx="5499948" cy="2479549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3467" baseline="0">
                <a:solidFill>
                  <a:schemeClr val="bg1"/>
                </a:solidFill>
              </a:defRPr>
            </a:lvl1pPr>
            <a:lvl2pPr marL="4952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90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85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81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76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715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668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620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Cliquez pour insérer le titre </a:t>
            </a:r>
            <a:br>
              <a:rPr lang="fr-FR"/>
            </a:br>
            <a:r>
              <a:rPr lang="fr-FR"/>
              <a:t>du chapitre</a:t>
            </a:r>
          </a:p>
        </p:txBody>
      </p:sp>
      <p:sp>
        <p:nvSpPr>
          <p:cNvPr id="19" name="Espace réservé du texte 10"/>
          <p:cNvSpPr>
            <a:spLocks noGrp="1"/>
          </p:cNvSpPr>
          <p:nvPr>
            <p:ph type="body" sz="quarter" idx="13" hasCustomPrompt="1"/>
          </p:nvPr>
        </p:nvSpPr>
        <p:spPr>
          <a:xfrm>
            <a:off x="389493" y="2999554"/>
            <a:ext cx="8971335" cy="3342084"/>
          </a:xfrm>
        </p:spPr>
        <p:txBody>
          <a:bodyPr/>
          <a:lstStyle>
            <a:lvl1pPr marL="196040" indent="-196040">
              <a:lnSpc>
                <a:spcPct val="100000"/>
              </a:lnSpc>
              <a:spcBef>
                <a:spcPts val="1950"/>
              </a:spcBef>
              <a:spcAft>
                <a:spcPts val="0"/>
              </a:spcAft>
              <a:buFont typeface="+mj-lt"/>
              <a:buAutoNum type="alphaLcPeriod"/>
              <a:defRPr sz="1733">
                <a:solidFill>
                  <a:schemeClr val="tx2"/>
                </a:solidFill>
              </a:defRPr>
            </a:lvl1pPr>
            <a:lvl2pPr marL="194984" indent="0">
              <a:spcBef>
                <a:spcPts val="650"/>
              </a:spcBef>
              <a:buFont typeface="+mj-lt"/>
              <a:buNone/>
              <a:defRPr sz="1517">
                <a:solidFill>
                  <a:schemeClr val="tx2"/>
                </a:solidFill>
                <a:latin typeface="+mn-lt"/>
              </a:defRPr>
            </a:lvl2pPr>
            <a:lvl3pPr marL="194984" indent="0"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2"/>
            <a:endParaRPr lang="fr-FR"/>
          </a:p>
          <a:p>
            <a:pPr lvl="2"/>
            <a:endParaRPr lang="fr-FR"/>
          </a:p>
        </p:txBody>
      </p:sp>
      <p:cxnSp>
        <p:nvCxnSpPr>
          <p:cNvPr id="21" name="Connecteur droit 20"/>
          <p:cNvCxnSpPr/>
          <p:nvPr userDrawn="1"/>
        </p:nvCxnSpPr>
        <p:spPr bwMode="gray">
          <a:xfrm flipV="1">
            <a:off x="9422709" y="6453336"/>
            <a:ext cx="0" cy="216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9469456" y="6429211"/>
            <a:ext cx="710129" cy="312165"/>
          </a:xfrm>
          <a:prstGeom prst="rect">
            <a:avLst/>
          </a:prstGeom>
        </p:spPr>
        <p:txBody>
          <a:bodyPr/>
          <a:lstStyle>
            <a:lvl1pPr>
              <a:defRPr sz="1300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fld id="{19858401-1896-4F80-9B2B-186795E41C27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20" name="Image 19" descr="LOGO Bpifrance 2015 impact_fond jaune_RVB.png">
            <a:extLst>
              <a:ext uri="{FF2B5EF4-FFF2-40B4-BE49-F238E27FC236}">
                <a16:creationId xmlns:a16="http://schemas.microsoft.com/office/drawing/2014/main" id="{8586D995-52E2-4F50-9D0E-CBB07450B7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5120" y="6469153"/>
            <a:ext cx="788360" cy="22612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de chapit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12095"/>
            <a:ext cx="990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950" err="1">
              <a:solidFill>
                <a:schemeClr val="tx1"/>
              </a:solidFill>
            </a:endParaRPr>
          </a:p>
        </p:txBody>
      </p:sp>
      <p:grpSp>
        <p:nvGrpSpPr>
          <p:cNvPr id="12" name="Grouper 11"/>
          <p:cNvGrpSpPr/>
          <p:nvPr userDrawn="1"/>
        </p:nvGrpSpPr>
        <p:grpSpPr>
          <a:xfrm>
            <a:off x="0" y="-3756"/>
            <a:ext cx="9906000" cy="2197087"/>
            <a:chOff x="0" y="-3756"/>
            <a:chExt cx="9144000" cy="2197087"/>
          </a:xfrm>
        </p:grpSpPr>
        <p:sp>
          <p:nvSpPr>
            <p:cNvPr id="13" name="Rectangle 12"/>
            <p:cNvSpPr/>
            <p:nvPr userDrawn="1"/>
          </p:nvSpPr>
          <p:spPr>
            <a:xfrm>
              <a:off x="0" y="-3756"/>
              <a:ext cx="9144000" cy="181257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950" err="1">
                <a:solidFill>
                  <a:schemeClr val="tx1"/>
                </a:solidFill>
              </a:endParaRPr>
            </a:p>
          </p:txBody>
        </p:sp>
        <p:sp>
          <p:nvSpPr>
            <p:cNvPr id="14" name="Triangle rectangle 13"/>
            <p:cNvSpPr/>
            <p:nvPr userDrawn="1"/>
          </p:nvSpPr>
          <p:spPr>
            <a:xfrm flipV="1">
              <a:off x="0" y="1797287"/>
              <a:ext cx="9144000" cy="396044"/>
            </a:xfrm>
            <a:prstGeom prst="rtTriangl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950" err="1">
                <a:solidFill>
                  <a:schemeClr val="tx1"/>
                </a:solidFill>
              </a:endParaRPr>
            </a:p>
          </p:txBody>
        </p:sp>
      </p:grpSp>
      <p:sp>
        <p:nvSpPr>
          <p:cNvPr id="15" name="Titre 1"/>
          <p:cNvSpPr>
            <a:spLocks noGrp="1"/>
          </p:cNvSpPr>
          <p:nvPr>
            <p:ph type="ctrTitle" hasCustomPrompt="1"/>
          </p:nvPr>
        </p:nvSpPr>
        <p:spPr>
          <a:xfrm>
            <a:off x="311484" y="-810902"/>
            <a:ext cx="3985930" cy="3411810"/>
          </a:xfrm>
        </p:spPr>
        <p:txBody>
          <a:bodyPr anchor="b" anchorCtr="0"/>
          <a:lstStyle>
            <a:lvl1pPr algn="l">
              <a:defRPr sz="19498">
                <a:solidFill>
                  <a:schemeClr val="bg1"/>
                </a:solidFill>
              </a:defRPr>
            </a:lvl1pPr>
          </a:lstStyle>
          <a:p>
            <a:r>
              <a:rPr lang="fr-FR"/>
              <a:t>00.</a:t>
            </a:r>
          </a:p>
        </p:txBody>
      </p:sp>
      <p:sp>
        <p:nvSpPr>
          <p:cNvPr id="16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389497" y="2816932"/>
            <a:ext cx="4186133" cy="3384376"/>
          </a:xfrm>
        </p:spPr>
        <p:txBody>
          <a:bodyPr anchor="ctr"/>
          <a:lstStyle>
            <a:lvl1pPr marL="0" indent="0" algn="l">
              <a:spcAft>
                <a:spcPts val="0"/>
              </a:spcAft>
              <a:buNone/>
              <a:defRPr sz="5200" baseline="0">
                <a:solidFill>
                  <a:srgbClr val="5E514D"/>
                </a:solidFill>
              </a:defRPr>
            </a:lvl1pPr>
            <a:lvl2pPr marL="4952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90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85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81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76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715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668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620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Cliquez pour insérer </a:t>
            </a:r>
          </a:p>
          <a:p>
            <a:r>
              <a:rPr lang="fr-FR"/>
              <a:t>le titre</a:t>
            </a:r>
          </a:p>
        </p:txBody>
      </p:sp>
      <p:sp>
        <p:nvSpPr>
          <p:cNvPr id="18" name="Espace réservé pour une image  14"/>
          <p:cNvSpPr>
            <a:spLocks noGrp="1"/>
          </p:cNvSpPr>
          <p:nvPr>
            <p:ph type="pic" sz="quarter" idx="15" hasCustomPrompt="1"/>
          </p:nvPr>
        </p:nvSpPr>
        <p:spPr>
          <a:xfrm>
            <a:off x="5042015" y="2312876"/>
            <a:ext cx="4290477" cy="3883796"/>
          </a:xfrm>
          <a:solidFill>
            <a:schemeClr val="bg1"/>
          </a:solidFill>
        </p:spPr>
        <p:txBody>
          <a:bodyPr bIns="648000" anchor="ctr" anchorCtr="0"/>
          <a:lstStyle>
            <a:lvl1pPr algn="ctr">
              <a:defRPr sz="1300"/>
            </a:lvl1pPr>
          </a:lstStyle>
          <a:p>
            <a:r>
              <a:rPr lang="fr-FR"/>
              <a:t>Visuel</a:t>
            </a:r>
          </a:p>
        </p:txBody>
      </p:sp>
      <p:cxnSp>
        <p:nvCxnSpPr>
          <p:cNvPr id="19" name="Connecteur droit 18"/>
          <p:cNvCxnSpPr/>
          <p:nvPr userDrawn="1"/>
        </p:nvCxnSpPr>
        <p:spPr bwMode="gray">
          <a:xfrm flipV="1">
            <a:off x="9422709" y="6453336"/>
            <a:ext cx="0" cy="216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9469456" y="6429211"/>
            <a:ext cx="710129" cy="312165"/>
          </a:xfrm>
          <a:prstGeom prst="rect">
            <a:avLst/>
          </a:prstGeom>
        </p:spPr>
        <p:txBody>
          <a:bodyPr/>
          <a:lstStyle>
            <a:lvl1pPr>
              <a:defRPr sz="1300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fld id="{19858401-1896-4F80-9B2B-186795E41C27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21" name="Image 20" descr="LOGO Bpifrance 2015 impact_fond jaune_RVB.png">
            <a:extLst>
              <a:ext uri="{FF2B5EF4-FFF2-40B4-BE49-F238E27FC236}">
                <a16:creationId xmlns:a16="http://schemas.microsoft.com/office/drawing/2014/main" id="{539A3D69-BF5C-4CAE-80D6-09654B3EEC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5120" y="6469153"/>
            <a:ext cx="788360" cy="22612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vie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9469456" y="6429211"/>
            <a:ext cx="710129" cy="312165"/>
          </a:xfrm>
          <a:prstGeom prst="rect">
            <a:avLst/>
          </a:prstGeom>
        </p:spPr>
        <p:txBody>
          <a:bodyPr/>
          <a:lstStyle>
            <a:lvl1pPr>
              <a:defRPr sz="1300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fld id="{19858401-1896-4F80-9B2B-186795E41C27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032052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titre + b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156018" y="6250680"/>
            <a:ext cx="425757" cy="500814"/>
          </a:xfrm>
        </p:spPr>
        <p:txBody>
          <a:bodyPr anchor="b" anchorCtr="0"/>
          <a:lstStyle>
            <a:lvl1pPr algn="r">
              <a:defRPr sz="1517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/>
              <a:t>00.</a:t>
            </a:r>
          </a:p>
        </p:txBody>
      </p:sp>
      <p:sp>
        <p:nvSpPr>
          <p:cNvPr id="10" name="Espace réservé du texte 11"/>
          <p:cNvSpPr>
            <a:spLocks noGrp="1"/>
          </p:cNvSpPr>
          <p:nvPr>
            <p:ph type="body" sz="quarter" idx="14" hasCustomPrompt="1"/>
          </p:nvPr>
        </p:nvSpPr>
        <p:spPr>
          <a:xfrm>
            <a:off x="662528" y="6250680"/>
            <a:ext cx="6708745" cy="500814"/>
          </a:xfrm>
        </p:spPr>
        <p:txBody>
          <a:bodyPr anchor="b" anchorCtr="0"/>
          <a:lstStyle>
            <a:lvl1pPr algn="l">
              <a:defRPr sz="1517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/>
              <a:t>Cliquez pour insérer le titre de chapitre</a:t>
            </a:r>
          </a:p>
        </p:txBody>
      </p:sp>
      <p:sp>
        <p:nvSpPr>
          <p:cNvPr id="11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379459" y="8620"/>
            <a:ext cx="9135520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/>
              <a:t>Cliquez pour modifier le titr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5"/>
          </p:nvPr>
        </p:nvSpPr>
        <p:spPr>
          <a:xfrm>
            <a:off x="388675" y="1051334"/>
            <a:ext cx="9128653" cy="493395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8" name="Espace réservé du numéro de diapositive 2">
            <a:extLst>
              <a:ext uri="{FF2B5EF4-FFF2-40B4-BE49-F238E27FC236}">
                <a16:creationId xmlns:a16="http://schemas.microsoft.com/office/drawing/2014/main" id="{E2BF1299-CAE1-4246-A5B7-84EA786928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69456" y="6429211"/>
            <a:ext cx="710129" cy="312165"/>
          </a:xfrm>
          <a:prstGeom prst="rect">
            <a:avLst/>
          </a:prstGeom>
        </p:spPr>
        <p:txBody>
          <a:bodyPr/>
          <a:lstStyle>
            <a:lvl1pPr>
              <a:defRPr sz="1300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fld id="{19858401-1896-4F80-9B2B-186795E41C27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e titre + b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156018" y="6250680"/>
            <a:ext cx="425757" cy="500814"/>
          </a:xfrm>
        </p:spPr>
        <p:txBody>
          <a:bodyPr anchor="b" anchorCtr="0"/>
          <a:lstStyle>
            <a:lvl1pPr algn="r">
              <a:defRPr sz="1517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/>
              <a:t>00.</a:t>
            </a:r>
          </a:p>
        </p:txBody>
      </p:sp>
      <p:sp>
        <p:nvSpPr>
          <p:cNvPr id="10" name="Espace réservé du texte 11"/>
          <p:cNvSpPr>
            <a:spLocks noGrp="1"/>
          </p:cNvSpPr>
          <p:nvPr>
            <p:ph type="body" sz="quarter" idx="14" hasCustomPrompt="1"/>
          </p:nvPr>
        </p:nvSpPr>
        <p:spPr>
          <a:xfrm>
            <a:off x="662528" y="6250680"/>
            <a:ext cx="6708745" cy="500814"/>
          </a:xfrm>
        </p:spPr>
        <p:txBody>
          <a:bodyPr anchor="b" anchorCtr="0"/>
          <a:lstStyle>
            <a:lvl1pPr algn="l">
              <a:defRPr sz="1517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/>
              <a:t>Cliquez pour insérer le titre de chapitre</a:t>
            </a:r>
          </a:p>
        </p:txBody>
      </p:sp>
      <p:sp>
        <p:nvSpPr>
          <p:cNvPr id="11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379454" y="8620"/>
            <a:ext cx="9137054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/>
              <a:t>Cliquez pour modifier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5"/>
          </p:nvPr>
        </p:nvSpPr>
        <p:spPr>
          <a:xfrm>
            <a:off x="379802" y="1052482"/>
            <a:ext cx="4183154" cy="47846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5" name="Espace réservé du contenu 2"/>
          <p:cNvSpPr>
            <a:spLocks noGrp="1"/>
          </p:cNvSpPr>
          <p:nvPr>
            <p:ph sz="quarter" idx="16"/>
          </p:nvPr>
        </p:nvSpPr>
        <p:spPr>
          <a:xfrm>
            <a:off x="5304039" y="1052482"/>
            <a:ext cx="4212254" cy="47846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8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9469456" y="6429211"/>
            <a:ext cx="710129" cy="312165"/>
          </a:xfrm>
          <a:prstGeom prst="rect">
            <a:avLst/>
          </a:prstGeom>
        </p:spPr>
        <p:txBody>
          <a:bodyPr/>
          <a:lstStyle>
            <a:lvl1pPr>
              <a:defRPr sz="1300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fld id="{19858401-1896-4F80-9B2B-186795E41C27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422826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e titre + b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156018" y="6250680"/>
            <a:ext cx="425757" cy="500814"/>
          </a:xfrm>
        </p:spPr>
        <p:txBody>
          <a:bodyPr anchor="b" anchorCtr="0"/>
          <a:lstStyle>
            <a:lvl1pPr algn="r">
              <a:defRPr sz="1517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/>
              <a:t>00.</a:t>
            </a:r>
          </a:p>
        </p:txBody>
      </p:sp>
      <p:sp>
        <p:nvSpPr>
          <p:cNvPr id="10" name="Espace réservé du texte 11"/>
          <p:cNvSpPr>
            <a:spLocks noGrp="1"/>
          </p:cNvSpPr>
          <p:nvPr>
            <p:ph type="body" sz="quarter" idx="14" hasCustomPrompt="1"/>
          </p:nvPr>
        </p:nvSpPr>
        <p:spPr>
          <a:xfrm>
            <a:off x="662528" y="6250680"/>
            <a:ext cx="6708745" cy="500814"/>
          </a:xfrm>
        </p:spPr>
        <p:txBody>
          <a:bodyPr anchor="b" anchorCtr="0"/>
          <a:lstStyle>
            <a:lvl1pPr algn="l">
              <a:defRPr sz="1517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/>
              <a:t>Cliquez pour insérer le titre de chapitre</a:t>
            </a:r>
          </a:p>
        </p:txBody>
      </p:sp>
      <p:sp>
        <p:nvSpPr>
          <p:cNvPr id="11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379454" y="8620"/>
            <a:ext cx="9137054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/>
              <a:t>Cliquez pour modifier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5"/>
          </p:nvPr>
        </p:nvSpPr>
        <p:spPr>
          <a:xfrm>
            <a:off x="379802" y="1052482"/>
            <a:ext cx="4183154" cy="478468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pour une image  5"/>
          <p:cNvSpPr>
            <a:spLocks noGrp="1"/>
          </p:cNvSpPr>
          <p:nvPr>
            <p:ph type="pic" sz="quarter" idx="16"/>
          </p:nvPr>
        </p:nvSpPr>
        <p:spPr>
          <a:xfrm>
            <a:off x="5304039" y="1052736"/>
            <a:ext cx="4212468" cy="4789264"/>
          </a:xfrm>
        </p:spPr>
        <p:txBody>
          <a:bodyPr/>
          <a:lstStyle/>
          <a:p>
            <a:endParaRPr lang="fr-FR"/>
          </a:p>
        </p:txBody>
      </p:sp>
      <p:sp>
        <p:nvSpPr>
          <p:cNvPr id="8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9469456" y="6429211"/>
            <a:ext cx="710129" cy="312165"/>
          </a:xfrm>
          <a:prstGeom prst="rect">
            <a:avLst/>
          </a:prstGeom>
        </p:spPr>
        <p:txBody>
          <a:bodyPr/>
          <a:lstStyle>
            <a:lvl1pPr>
              <a:defRPr sz="1300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fld id="{19858401-1896-4F80-9B2B-186795E41C27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945237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370500" y="1314003"/>
            <a:ext cx="9165000" cy="46391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/>
              <a:t>Cliquez pour modifier le sous-titr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  <a:p>
            <a:pPr lvl="5"/>
            <a:r>
              <a:rPr lang="fr-FR"/>
              <a:t>Sixième niveau</a:t>
            </a:r>
          </a:p>
          <a:p>
            <a:pPr lvl="6"/>
            <a:r>
              <a:rPr lang="fr-FR"/>
              <a:t>Septième niveau</a:t>
            </a:r>
          </a:p>
          <a:p>
            <a:pPr lvl="7"/>
            <a:r>
              <a:rPr lang="fr-FR"/>
              <a:t>Huitième niveau</a:t>
            </a:r>
          </a:p>
          <a:p>
            <a:pPr lvl="7"/>
            <a:endParaRPr lang="fr-FR"/>
          </a:p>
          <a:p>
            <a:pPr lvl="8"/>
            <a:r>
              <a:rPr lang="fr-FR"/>
              <a:t>Neuvième niveau</a:t>
            </a:r>
          </a:p>
          <a:p>
            <a:pPr lvl="7"/>
            <a:endParaRPr lang="fr-FR"/>
          </a:p>
          <a:p>
            <a:pPr lvl="7"/>
            <a:endParaRPr lang="fr-FR"/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>
            <a:off x="0" y="6047948"/>
            <a:ext cx="9906000" cy="825349"/>
          </a:xfrm>
          <a:prstGeom prst="rect">
            <a:avLst/>
          </a:prstGeom>
        </p:spPr>
      </p:pic>
      <p:cxnSp>
        <p:nvCxnSpPr>
          <p:cNvPr id="14" name="Connecteur droit 13"/>
          <p:cNvCxnSpPr/>
          <p:nvPr userDrawn="1"/>
        </p:nvCxnSpPr>
        <p:spPr bwMode="gray">
          <a:xfrm flipV="1">
            <a:off x="9422709" y="6453336"/>
            <a:ext cx="0" cy="216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379454" y="8620"/>
            <a:ext cx="9178969" cy="6480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/>
              <a:t>Cliquez pour modifier le titre</a:t>
            </a:r>
          </a:p>
        </p:txBody>
      </p:sp>
      <p:sp>
        <p:nvSpPr>
          <p:cNvPr id="8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9469456" y="6429211"/>
            <a:ext cx="710129" cy="312165"/>
          </a:xfrm>
          <a:prstGeom prst="rect">
            <a:avLst/>
          </a:prstGeom>
        </p:spPr>
        <p:txBody>
          <a:bodyPr/>
          <a:lstStyle>
            <a:lvl1pPr>
              <a:defRPr sz="1300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fld id="{19858401-1896-4F80-9B2B-186795E41C27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15" name="Image 14" descr="LOGO Bpifrance 2015 impact_fond jaune_RVB.png">
            <a:extLst>
              <a:ext uri="{FF2B5EF4-FFF2-40B4-BE49-F238E27FC236}">
                <a16:creationId xmlns:a16="http://schemas.microsoft.com/office/drawing/2014/main" id="{FE0E973C-DF6D-4C7F-8FD0-D95F5512609E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5120" y="6469153"/>
            <a:ext cx="788360" cy="226128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712" r:id="rId2"/>
    <p:sldLayoutId id="2147483662" r:id="rId3"/>
    <p:sldLayoutId id="2147483666" r:id="rId4"/>
    <p:sldLayoutId id="2147483667" r:id="rId5"/>
    <p:sldLayoutId id="2147483701" r:id="rId6"/>
    <p:sldLayoutId id="2147483673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650" r:id="rId13"/>
    <p:sldLayoutId id="2147483674" r:id="rId14"/>
    <p:sldLayoutId id="2147483671" r:id="rId15"/>
    <p:sldLayoutId id="2147483709" r:id="rId16"/>
    <p:sldLayoutId id="2147483707" r:id="rId17"/>
    <p:sldLayoutId id="2147483710" r:id="rId18"/>
    <p:sldLayoutId id="2147483708" r:id="rId19"/>
    <p:sldLayoutId id="2147483711" r:id="rId20"/>
    <p:sldLayoutId id="2147483713" r:id="rId21"/>
    <p:sldLayoutId id="2147483714" r:id="rId22"/>
    <p:sldLayoutId id="2147483715" r:id="rId23"/>
    <p:sldLayoutId id="2147483668" r:id="rId24"/>
    <p:sldLayoutId id="2147483676" r:id="rId25"/>
    <p:sldLayoutId id="2147483661" r:id="rId26"/>
    <p:sldLayoutId id="2147483721" r:id="rId27"/>
    <p:sldLayoutId id="2147483795" r:id="rId28"/>
  </p:sldLayoutIdLst>
  <p:hf hdr="0" ftr="0" dt="0"/>
  <p:txStyles>
    <p:titleStyle>
      <a:lvl1pPr algn="l" defTabSz="990518" rtl="0" eaLnBrk="1" latinLnBrk="0" hangingPunct="1">
        <a:lnSpc>
          <a:spcPct val="85000"/>
        </a:lnSpc>
        <a:spcBef>
          <a:spcPct val="0"/>
        </a:spcBef>
        <a:buNone/>
        <a:defRPr sz="3467" kern="1200">
          <a:solidFill>
            <a:srgbClr val="5E514D"/>
          </a:solidFill>
          <a:latin typeface="+mj-lt"/>
          <a:ea typeface="+mj-ea"/>
          <a:cs typeface="+mj-cs"/>
        </a:defRPr>
      </a:lvl1pPr>
    </p:titleStyle>
    <p:bodyStyle>
      <a:lvl1pPr marL="0" indent="0" algn="l" defTabSz="990518" rtl="0" eaLnBrk="1" latinLnBrk="0" hangingPunct="1">
        <a:lnSpc>
          <a:spcPct val="85000"/>
        </a:lnSpc>
        <a:spcBef>
          <a:spcPts val="0"/>
        </a:spcBef>
        <a:spcAft>
          <a:spcPts val="3250"/>
        </a:spcAft>
        <a:buFont typeface="Arial" pitchFamily="34" charset="0"/>
        <a:buNone/>
        <a:defRPr sz="2600" b="0" kern="1200">
          <a:solidFill>
            <a:schemeClr val="tx2"/>
          </a:solidFill>
          <a:latin typeface="+mj-lt"/>
          <a:ea typeface="+mn-ea"/>
          <a:cs typeface="+mn-cs"/>
        </a:defRPr>
      </a:lvl1pPr>
      <a:lvl2pPr marL="0" indent="0" algn="just" defTabSz="990518" rtl="0" eaLnBrk="1" latinLnBrk="0" hangingPunct="1">
        <a:lnSpc>
          <a:spcPct val="120000"/>
        </a:lnSpc>
        <a:spcBef>
          <a:spcPts val="0"/>
        </a:spcBef>
        <a:buFont typeface="Arial" pitchFamily="34" charset="0"/>
        <a:buNone/>
        <a:defRPr sz="1733" b="1" kern="1200" cap="all">
          <a:solidFill>
            <a:srgbClr val="5E514D"/>
          </a:solidFill>
          <a:latin typeface="+mn-lt"/>
          <a:ea typeface="+mn-ea"/>
          <a:cs typeface="+mn-cs"/>
        </a:defRPr>
      </a:lvl2pPr>
      <a:lvl3pPr marL="0" indent="0" algn="just" defTabSz="990518" rtl="0" eaLnBrk="1" latinLnBrk="0" hangingPunct="1">
        <a:lnSpc>
          <a:spcPct val="120000"/>
        </a:lnSpc>
        <a:spcBef>
          <a:spcPts val="0"/>
        </a:spcBef>
        <a:buClr>
          <a:schemeClr val="bg2"/>
        </a:buClr>
        <a:buFont typeface="Wingdings" pitchFamily="2" charset="2"/>
        <a:buNone/>
        <a:defRPr sz="1408" kern="1200">
          <a:solidFill>
            <a:srgbClr val="5E514D"/>
          </a:solidFill>
          <a:latin typeface="+mn-lt"/>
          <a:ea typeface="+mn-ea"/>
          <a:cs typeface="+mn-cs"/>
        </a:defRPr>
      </a:lvl3pPr>
      <a:lvl4pPr marL="0" indent="-194984" algn="just" defTabSz="990518" rtl="0" eaLnBrk="1" latinLnBrk="0" hangingPunct="1">
        <a:lnSpc>
          <a:spcPct val="120000"/>
        </a:lnSpc>
        <a:spcBef>
          <a:spcPts val="0"/>
        </a:spcBef>
        <a:buClr>
          <a:schemeClr val="bg2"/>
        </a:buClr>
        <a:buFont typeface="Wingdings" pitchFamily="2" charset="2"/>
        <a:buChar char="l"/>
        <a:defRPr sz="1300" kern="1200">
          <a:solidFill>
            <a:srgbClr val="5E514D"/>
          </a:solidFill>
          <a:latin typeface="+mn-lt"/>
          <a:ea typeface="+mn-ea"/>
          <a:cs typeface="+mn-cs"/>
        </a:defRPr>
      </a:lvl4pPr>
      <a:lvl5pPr marL="194984" indent="0" algn="just" defTabSz="990518" rtl="0" eaLnBrk="1" latinLnBrk="0" hangingPunct="1">
        <a:lnSpc>
          <a:spcPct val="120000"/>
        </a:lnSpc>
        <a:spcBef>
          <a:spcPts val="0"/>
        </a:spcBef>
        <a:buClr>
          <a:schemeClr val="accent1"/>
        </a:buClr>
        <a:buFont typeface="Wingdings" pitchFamily="2" charset="2"/>
        <a:buNone/>
        <a:defRPr sz="1300" kern="1200">
          <a:solidFill>
            <a:srgbClr val="5E514D"/>
          </a:solidFill>
          <a:latin typeface="+mn-lt"/>
          <a:ea typeface="+mn-ea"/>
          <a:cs typeface="+mn-cs"/>
        </a:defRPr>
      </a:lvl5pPr>
      <a:lvl6pPr marL="584952" indent="-194984" algn="just" defTabSz="969881" rtl="0" eaLnBrk="1" latinLnBrk="0" hangingPunct="1">
        <a:lnSpc>
          <a:spcPct val="120000"/>
        </a:lnSpc>
        <a:spcBef>
          <a:spcPts val="0"/>
        </a:spcBef>
        <a:buClr>
          <a:srgbClr val="5E514D"/>
        </a:buClr>
        <a:buSzPct val="150000"/>
        <a:buFont typeface="Lucida Grande"/>
        <a:buChar char="•"/>
        <a:defRPr sz="1300" b="0" kern="1200">
          <a:solidFill>
            <a:srgbClr val="5E514D"/>
          </a:solidFill>
          <a:latin typeface="+mn-lt"/>
          <a:ea typeface="+mn-ea"/>
          <a:cs typeface="+mn-cs"/>
        </a:defRPr>
      </a:lvl6pPr>
      <a:lvl7pPr marL="584952" indent="0" algn="just" defTabSz="969881" rtl="0" eaLnBrk="1" latinLnBrk="0" hangingPunct="1">
        <a:lnSpc>
          <a:spcPct val="120000"/>
        </a:lnSpc>
        <a:spcBef>
          <a:spcPts val="0"/>
        </a:spcBef>
        <a:buClr>
          <a:schemeClr val="accent1"/>
        </a:buClr>
        <a:buFontTx/>
        <a:buNone/>
        <a:defRPr sz="1300" b="0" kern="1200">
          <a:solidFill>
            <a:srgbClr val="5E514D"/>
          </a:solidFill>
          <a:latin typeface="+mn-lt"/>
          <a:ea typeface="+mn-ea"/>
          <a:cs typeface="+mn-cs"/>
        </a:defRPr>
      </a:lvl7pPr>
      <a:lvl8pPr marL="974918" indent="-196040" algn="just" defTabSz="969881" rtl="0" eaLnBrk="1" latinLnBrk="0" hangingPunct="1">
        <a:lnSpc>
          <a:spcPct val="120000"/>
        </a:lnSpc>
        <a:spcBef>
          <a:spcPts val="0"/>
        </a:spcBef>
        <a:buClr>
          <a:schemeClr val="accent1"/>
        </a:buClr>
        <a:buSzPct val="80000"/>
        <a:buFont typeface="Wingdings" pitchFamily="2" charset="2"/>
        <a:buChar char="l"/>
        <a:defRPr sz="1300" b="0" kern="1200">
          <a:solidFill>
            <a:srgbClr val="5E514D"/>
          </a:solidFill>
          <a:latin typeface="+mn-lt"/>
          <a:ea typeface="+mn-ea"/>
          <a:cs typeface="+mn-cs"/>
        </a:defRPr>
      </a:lvl8pPr>
      <a:lvl9pPr marL="0" indent="0" algn="l" defTabSz="990518" rtl="0" eaLnBrk="1" latinLnBrk="0" hangingPunct="1">
        <a:spcBef>
          <a:spcPct val="20000"/>
        </a:spcBef>
        <a:buFontTx/>
        <a:buNone/>
        <a:defRPr sz="867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90518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59" algn="l" defTabSz="990518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18" algn="l" defTabSz="990518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775" algn="l" defTabSz="990518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032" algn="l" defTabSz="990518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292" algn="l" defTabSz="990518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51" algn="l" defTabSz="990518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808" algn="l" defTabSz="990518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067" algn="l" defTabSz="990518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584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1250500" y="3032125"/>
            <a:ext cx="7475105" cy="1674186"/>
          </a:xfrm>
        </p:spPr>
        <p:txBody>
          <a:bodyPr/>
          <a:lstStyle/>
          <a:p>
            <a:pPr algn="ctr"/>
            <a:r>
              <a:rPr lang="fr-FR" dirty="0"/>
              <a:t>Bpifrance, la banque du climat</a:t>
            </a:r>
          </a:p>
          <a:p>
            <a:pPr algn="ctr"/>
            <a:endParaRPr lang="fr-FR" dirty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/>
          </p:nvPr>
        </p:nvSpPr>
        <p:spPr>
          <a:xfrm>
            <a:off x="1266897" y="4707118"/>
            <a:ext cx="1853377" cy="396093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fr-FR" dirty="0" err="1"/>
              <a:t>Oct</a:t>
            </a:r>
            <a:r>
              <a:rPr lang="fr-FR" dirty="0"/>
              <a:t> 2023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782670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6680453" y="1596390"/>
            <a:ext cx="2443480" cy="1902460"/>
          </a:xfrm>
          <a:custGeom>
            <a:avLst/>
            <a:gdLst/>
            <a:ahLst/>
            <a:cxnLst/>
            <a:rect l="l" t="t" r="r" b="b"/>
            <a:pathLst>
              <a:path w="2443479" h="1902460">
                <a:moveTo>
                  <a:pt x="0" y="1901951"/>
                </a:moveTo>
                <a:lnTo>
                  <a:pt x="2442972" y="1901951"/>
                </a:lnTo>
                <a:lnTo>
                  <a:pt x="2442972" y="0"/>
                </a:lnTo>
                <a:lnTo>
                  <a:pt x="0" y="0"/>
                </a:lnTo>
                <a:lnTo>
                  <a:pt x="0" y="1901951"/>
                </a:lnTo>
                <a:close/>
              </a:path>
            </a:pathLst>
          </a:custGeom>
          <a:ln w="19050">
            <a:solidFill>
              <a:srgbClr val="00843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781051" y="1597913"/>
            <a:ext cx="2940050" cy="1902460"/>
          </a:xfrm>
          <a:custGeom>
            <a:avLst/>
            <a:gdLst/>
            <a:ahLst/>
            <a:cxnLst/>
            <a:rect l="l" t="t" r="r" b="b"/>
            <a:pathLst>
              <a:path w="2940050" h="1902460">
                <a:moveTo>
                  <a:pt x="0" y="1901951"/>
                </a:moveTo>
                <a:lnTo>
                  <a:pt x="2939796" y="1901951"/>
                </a:lnTo>
                <a:lnTo>
                  <a:pt x="2939796" y="0"/>
                </a:lnTo>
                <a:lnTo>
                  <a:pt x="0" y="0"/>
                </a:lnTo>
                <a:lnTo>
                  <a:pt x="0" y="1901951"/>
                </a:lnTo>
                <a:close/>
              </a:path>
            </a:pathLst>
          </a:custGeom>
          <a:ln w="19050">
            <a:solidFill>
              <a:srgbClr val="00843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4" name="object 4"/>
          <p:cNvGrpSpPr/>
          <p:nvPr/>
        </p:nvGrpSpPr>
        <p:grpSpPr>
          <a:xfrm>
            <a:off x="784860" y="824484"/>
            <a:ext cx="8348980" cy="2683511"/>
            <a:chOff x="403859" y="1199388"/>
            <a:chExt cx="8348980" cy="2683510"/>
          </a:xfrm>
        </p:grpSpPr>
        <p:sp>
          <p:nvSpPr>
            <p:cNvPr id="5" name="object 5"/>
            <p:cNvSpPr/>
            <p:nvPr/>
          </p:nvSpPr>
          <p:spPr>
            <a:xfrm>
              <a:off x="3633977" y="1971294"/>
              <a:ext cx="2443480" cy="1902460"/>
            </a:xfrm>
            <a:custGeom>
              <a:avLst/>
              <a:gdLst/>
              <a:ahLst/>
              <a:cxnLst/>
              <a:rect l="l" t="t" r="r" b="b"/>
              <a:pathLst>
                <a:path w="2443479" h="1902460">
                  <a:moveTo>
                    <a:pt x="0" y="1901951"/>
                  </a:moveTo>
                  <a:lnTo>
                    <a:pt x="2442972" y="1901951"/>
                  </a:lnTo>
                  <a:lnTo>
                    <a:pt x="2442972" y="0"/>
                  </a:lnTo>
                  <a:lnTo>
                    <a:pt x="0" y="0"/>
                  </a:lnTo>
                  <a:lnTo>
                    <a:pt x="0" y="1901951"/>
                  </a:lnTo>
                  <a:close/>
                </a:path>
              </a:pathLst>
            </a:custGeom>
            <a:ln w="19050">
              <a:solidFill>
                <a:srgbClr val="00843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403859" y="1199388"/>
              <a:ext cx="8348980" cy="734695"/>
            </a:xfrm>
            <a:custGeom>
              <a:avLst/>
              <a:gdLst/>
              <a:ahLst/>
              <a:cxnLst/>
              <a:rect l="l" t="t" r="r" b="b"/>
              <a:pathLst>
                <a:path w="8348980" h="734694">
                  <a:moveTo>
                    <a:pt x="4163949" y="0"/>
                  </a:moveTo>
                  <a:lnTo>
                    <a:pt x="0" y="734567"/>
                  </a:lnTo>
                  <a:lnTo>
                    <a:pt x="8348472" y="734567"/>
                  </a:lnTo>
                  <a:lnTo>
                    <a:pt x="4163949" y="0"/>
                  </a:lnTo>
                  <a:close/>
                </a:path>
              </a:pathLst>
            </a:custGeom>
            <a:solidFill>
              <a:srgbClr val="00843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xfrm>
            <a:off x="760455" y="-49578"/>
            <a:ext cx="9178969" cy="934871"/>
          </a:xfrm>
          <a:prstGeom prst="rect">
            <a:avLst/>
          </a:prstGeom>
        </p:spPr>
        <p:txBody>
          <a:bodyPr vert="horz" wrap="square" lIns="0" tIns="87630" rIns="0" bIns="0" rtlCol="0" anchor="b" anchorCtr="0">
            <a:spAutoFit/>
          </a:bodyPr>
          <a:lstStyle/>
          <a:p>
            <a:pPr marL="288913" marR="5080">
              <a:lnSpc>
                <a:spcPts val="3270"/>
              </a:lnSpc>
              <a:spcBef>
                <a:spcPts val="690"/>
              </a:spcBef>
            </a:pPr>
            <a:r>
              <a:rPr dirty="0"/>
              <a:t>Le</a:t>
            </a:r>
            <a:r>
              <a:rPr spc="-25" dirty="0"/>
              <a:t> </a:t>
            </a:r>
            <a:r>
              <a:rPr dirty="0">
                <a:solidFill>
                  <a:srgbClr val="92D050"/>
                </a:solidFill>
              </a:rPr>
              <a:t>plan</a:t>
            </a:r>
            <a:r>
              <a:rPr spc="-14" dirty="0">
                <a:solidFill>
                  <a:srgbClr val="92D050"/>
                </a:solidFill>
              </a:rPr>
              <a:t> </a:t>
            </a:r>
            <a:r>
              <a:rPr dirty="0">
                <a:solidFill>
                  <a:srgbClr val="92D050"/>
                </a:solidFill>
              </a:rPr>
              <a:t>climat</a:t>
            </a:r>
            <a:r>
              <a:rPr spc="-25" dirty="0">
                <a:solidFill>
                  <a:srgbClr val="92D050"/>
                </a:solidFill>
              </a:rPr>
              <a:t> </a:t>
            </a:r>
            <a:r>
              <a:rPr dirty="0"/>
              <a:t>de</a:t>
            </a:r>
            <a:r>
              <a:rPr spc="-30" dirty="0"/>
              <a:t> </a:t>
            </a:r>
            <a:r>
              <a:rPr dirty="0"/>
              <a:t>Bpifrance</a:t>
            </a:r>
            <a:r>
              <a:rPr spc="-30" dirty="0"/>
              <a:t> </a:t>
            </a:r>
            <a:r>
              <a:rPr dirty="0"/>
              <a:t>vise </a:t>
            </a:r>
            <a:r>
              <a:rPr dirty="0">
                <a:solidFill>
                  <a:srgbClr val="92D050"/>
                </a:solidFill>
              </a:rPr>
              <a:t>3</a:t>
            </a:r>
            <a:r>
              <a:rPr spc="-14" dirty="0">
                <a:solidFill>
                  <a:srgbClr val="92D050"/>
                </a:solidFill>
              </a:rPr>
              <a:t> </a:t>
            </a:r>
            <a:r>
              <a:rPr spc="-10" dirty="0">
                <a:solidFill>
                  <a:srgbClr val="92D050"/>
                </a:solidFill>
              </a:rPr>
              <a:t>objectifs </a:t>
            </a:r>
            <a:r>
              <a:rPr dirty="0">
                <a:solidFill>
                  <a:srgbClr val="92D050"/>
                </a:solidFill>
              </a:rPr>
              <a:t>centraux</a:t>
            </a:r>
            <a:r>
              <a:rPr dirty="0"/>
              <a:t>,</a:t>
            </a:r>
            <a:r>
              <a:rPr spc="-40" dirty="0"/>
              <a:t> </a:t>
            </a:r>
            <a:r>
              <a:rPr dirty="0"/>
              <a:t>avec</a:t>
            </a:r>
            <a:r>
              <a:rPr spc="-51" dirty="0"/>
              <a:t> </a:t>
            </a:r>
            <a:r>
              <a:rPr dirty="0"/>
              <a:t>7</a:t>
            </a:r>
            <a:r>
              <a:rPr spc="-35" dirty="0"/>
              <a:t> </a:t>
            </a:r>
            <a:r>
              <a:rPr dirty="0"/>
              <a:t>chantiers</a:t>
            </a:r>
            <a:r>
              <a:rPr spc="-30" dirty="0"/>
              <a:t> </a:t>
            </a:r>
            <a:r>
              <a:rPr spc="-10" dirty="0"/>
              <a:t>transverses</a:t>
            </a:r>
            <a:r>
              <a:rPr spc="-35" dirty="0"/>
              <a:t> </a:t>
            </a:r>
            <a:r>
              <a:rPr dirty="0"/>
              <a:t>en</a:t>
            </a:r>
            <a:r>
              <a:rPr spc="-30" dirty="0"/>
              <a:t> </a:t>
            </a:r>
            <a:r>
              <a:rPr spc="-10" dirty="0"/>
              <a:t>appui</a:t>
            </a:r>
          </a:p>
        </p:txBody>
      </p:sp>
      <p:sp>
        <p:nvSpPr>
          <p:cNvPr id="8" name="object 8"/>
          <p:cNvSpPr/>
          <p:nvPr/>
        </p:nvSpPr>
        <p:spPr>
          <a:xfrm>
            <a:off x="805436" y="5369814"/>
            <a:ext cx="8341359" cy="431799"/>
          </a:xfrm>
          <a:custGeom>
            <a:avLst/>
            <a:gdLst/>
            <a:ahLst/>
            <a:cxnLst/>
            <a:rect l="l" t="t" r="r" b="b"/>
            <a:pathLst>
              <a:path w="8341359" h="431800">
                <a:moveTo>
                  <a:pt x="0" y="431291"/>
                </a:moveTo>
                <a:lnTo>
                  <a:pt x="8340852" y="431291"/>
                </a:lnTo>
                <a:lnTo>
                  <a:pt x="8340852" y="0"/>
                </a:lnTo>
                <a:lnTo>
                  <a:pt x="0" y="0"/>
                </a:lnTo>
                <a:lnTo>
                  <a:pt x="0" y="431291"/>
                </a:lnTo>
                <a:close/>
              </a:path>
            </a:pathLst>
          </a:custGeom>
          <a:ln w="19050">
            <a:solidFill>
              <a:srgbClr val="00843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1646049" y="5399634"/>
            <a:ext cx="6652894" cy="35137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539" algn="ctr">
              <a:spcBef>
                <a:spcPts val="100"/>
              </a:spcBef>
            </a:pP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Créer</a:t>
            </a:r>
            <a:r>
              <a:rPr sz="1200" b="1" spc="-55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une</a:t>
            </a:r>
            <a:r>
              <a:rPr sz="1200" b="1" spc="-4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académie</a:t>
            </a:r>
            <a:r>
              <a:rPr sz="1200" b="1" spc="-55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du</a:t>
            </a:r>
            <a:r>
              <a:rPr sz="1200" b="1" spc="-10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climat</a:t>
            </a:r>
            <a:r>
              <a:rPr sz="1200" b="1" spc="-35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spc="-10" dirty="0">
                <a:solidFill>
                  <a:srgbClr val="00843C"/>
                </a:solidFill>
                <a:latin typeface="Arial"/>
                <a:cs typeface="Arial"/>
              </a:rPr>
              <a:t>interne</a:t>
            </a:r>
            <a:endParaRPr sz="1200">
              <a:latin typeface="Arial"/>
              <a:cs typeface="Arial"/>
            </a:endParaRPr>
          </a:p>
          <a:p>
            <a:pPr algn="ctr">
              <a:spcBef>
                <a:spcPts val="4"/>
              </a:spcBef>
            </a:pPr>
            <a:r>
              <a:rPr sz="1000" i="1" spc="-10" dirty="0">
                <a:latin typeface="Arial"/>
                <a:cs typeface="Arial"/>
              </a:rPr>
              <a:t>Développement</a:t>
            </a:r>
            <a:r>
              <a:rPr sz="1000" i="1" spc="-14" dirty="0">
                <a:latin typeface="Arial"/>
                <a:cs typeface="Arial"/>
              </a:rPr>
              <a:t> </a:t>
            </a:r>
            <a:r>
              <a:rPr sz="1000" i="1" dirty="0">
                <a:latin typeface="Arial"/>
                <a:cs typeface="Arial"/>
              </a:rPr>
              <a:t>de</a:t>
            </a:r>
            <a:r>
              <a:rPr sz="1000" i="1" spc="-14" dirty="0">
                <a:latin typeface="Arial"/>
                <a:cs typeface="Arial"/>
              </a:rPr>
              <a:t> </a:t>
            </a:r>
            <a:r>
              <a:rPr sz="1000" i="1" spc="-10" dirty="0">
                <a:latin typeface="Arial"/>
                <a:cs typeface="Arial"/>
              </a:rPr>
              <a:t>formations</a:t>
            </a:r>
            <a:r>
              <a:rPr sz="1000" i="1" spc="-4" dirty="0">
                <a:latin typeface="Arial"/>
                <a:cs typeface="Arial"/>
              </a:rPr>
              <a:t> </a:t>
            </a:r>
            <a:r>
              <a:rPr sz="1000" i="1" dirty="0">
                <a:latin typeface="Arial"/>
                <a:cs typeface="Arial"/>
              </a:rPr>
              <a:t>à</a:t>
            </a:r>
            <a:r>
              <a:rPr sz="1000" i="1" spc="-14" dirty="0">
                <a:latin typeface="Arial"/>
                <a:cs typeface="Arial"/>
              </a:rPr>
              <a:t> </a:t>
            </a:r>
            <a:r>
              <a:rPr sz="1000" i="1" dirty="0">
                <a:latin typeface="Arial"/>
                <a:cs typeface="Arial"/>
              </a:rPr>
              <a:t>différents</a:t>
            </a:r>
            <a:r>
              <a:rPr sz="1000" i="1" spc="-14" dirty="0">
                <a:latin typeface="Arial"/>
                <a:cs typeface="Arial"/>
              </a:rPr>
              <a:t> </a:t>
            </a:r>
            <a:r>
              <a:rPr sz="1000" i="1" dirty="0">
                <a:latin typeface="Arial"/>
                <a:cs typeface="Arial"/>
              </a:rPr>
              <a:t>niveaux,</a:t>
            </a:r>
            <a:r>
              <a:rPr sz="1000" i="1" spc="-14" dirty="0">
                <a:latin typeface="Arial"/>
                <a:cs typeface="Arial"/>
              </a:rPr>
              <a:t> </a:t>
            </a:r>
            <a:r>
              <a:rPr sz="1000" i="1" dirty="0">
                <a:latin typeface="Arial"/>
                <a:cs typeface="Arial"/>
              </a:rPr>
              <a:t>incl. </a:t>
            </a:r>
            <a:r>
              <a:rPr sz="1000" i="1" spc="-10" dirty="0">
                <a:latin typeface="Arial"/>
                <a:cs typeface="Arial"/>
              </a:rPr>
              <a:t>personnalisation</a:t>
            </a:r>
            <a:r>
              <a:rPr sz="1000" i="1" spc="-14" dirty="0">
                <a:latin typeface="Arial"/>
                <a:cs typeface="Arial"/>
              </a:rPr>
              <a:t> </a:t>
            </a:r>
            <a:r>
              <a:rPr sz="1000" i="1" dirty="0">
                <a:latin typeface="Arial"/>
                <a:cs typeface="Arial"/>
              </a:rPr>
              <a:t>par</a:t>
            </a:r>
            <a:r>
              <a:rPr sz="1000" i="1" spc="-20" dirty="0">
                <a:latin typeface="Arial"/>
                <a:cs typeface="Arial"/>
              </a:rPr>
              <a:t> </a:t>
            </a:r>
            <a:r>
              <a:rPr sz="1000" i="1" dirty="0">
                <a:latin typeface="Arial"/>
                <a:cs typeface="Arial"/>
              </a:rPr>
              <a:t>métier</a:t>
            </a:r>
            <a:r>
              <a:rPr sz="1000" i="1" spc="4" dirty="0">
                <a:latin typeface="Arial"/>
                <a:cs typeface="Arial"/>
              </a:rPr>
              <a:t> </a:t>
            </a:r>
            <a:r>
              <a:rPr sz="1000" i="1" dirty="0">
                <a:latin typeface="Arial"/>
                <a:cs typeface="Arial"/>
              </a:rPr>
              <a:t>et</a:t>
            </a:r>
            <a:r>
              <a:rPr sz="1000" i="1" spc="-14" dirty="0">
                <a:latin typeface="Arial"/>
                <a:cs typeface="Arial"/>
              </a:rPr>
              <a:t> </a:t>
            </a:r>
            <a:r>
              <a:rPr sz="1000" i="1" spc="-10" dirty="0">
                <a:latin typeface="Arial"/>
                <a:cs typeface="Arial"/>
              </a:rPr>
              <a:t>l’identification</a:t>
            </a:r>
            <a:r>
              <a:rPr sz="1000" i="1" spc="45" dirty="0">
                <a:latin typeface="Arial"/>
                <a:cs typeface="Arial"/>
              </a:rPr>
              <a:t> </a:t>
            </a:r>
            <a:r>
              <a:rPr sz="1000" i="1" dirty="0">
                <a:latin typeface="Arial"/>
                <a:cs typeface="Arial"/>
              </a:rPr>
              <a:t>d’experts</a:t>
            </a:r>
            <a:r>
              <a:rPr sz="1000" i="1" spc="4" dirty="0">
                <a:latin typeface="Arial"/>
                <a:cs typeface="Arial"/>
              </a:rPr>
              <a:t> </a:t>
            </a:r>
            <a:r>
              <a:rPr sz="1000" i="1" spc="-10" dirty="0">
                <a:latin typeface="Arial"/>
                <a:cs typeface="Arial"/>
              </a:rPr>
              <a:t>internes</a:t>
            </a:r>
            <a:endParaRPr sz="1000">
              <a:latin typeface="Arial"/>
              <a:cs typeface="Arial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805436" y="4400551"/>
            <a:ext cx="8341359" cy="277495"/>
          </a:xfrm>
          <a:custGeom>
            <a:avLst/>
            <a:gdLst/>
            <a:ahLst/>
            <a:cxnLst/>
            <a:rect l="l" t="t" r="r" b="b"/>
            <a:pathLst>
              <a:path w="8341359" h="277495">
                <a:moveTo>
                  <a:pt x="0" y="277368"/>
                </a:moveTo>
                <a:lnTo>
                  <a:pt x="8340852" y="277368"/>
                </a:lnTo>
                <a:lnTo>
                  <a:pt x="8340852" y="0"/>
                </a:lnTo>
                <a:lnTo>
                  <a:pt x="0" y="0"/>
                </a:lnTo>
                <a:lnTo>
                  <a:pt x="0" y="277368"/>
                </a:lnTo>
                <a:close/>
              </a:path>
            </a:pathLst>
          </a:custGeom>
          <a:ln w="19050">
            <a:solidFill>
              <a:srgbClr val="00843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1646048" y="4429505"/>
            <a:ext cx="6658609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699">
              <a:spcBef>
                <a:spcPts val="100"/>
              </a:spcBef>
            </a:pP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Evaluer</a:t>
            </a:r>
            <a:r>
              <a:rPr sz="1200" b="1" spc="-30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et</a:t>
            </a:r>
            <a:r>
              <a:rPr sz="1200" b="1" spc="-40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piloter</a:t>
            </a:r>
            <a:r>
              <a:rPr sz="1200" b="1" spc="-10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nos</a:t>
            </a:r>
            <a:r>
              <a:rPr sz="1200" b="1" spc="-30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risques</a:t>
            </a:r>
            <a:r>
              <a:rPr sz="1200" b="1" spc="-45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spc="-10" dirty="0">
                <a:solidFill>
                  <a:srgbClr val="00843C"/>
                </a:solidFill>
                <a:latin typeface="Arial"/>
                <a:cs typeface="Arial"/>
              </a:rPr>
              <a:t>climatiques</a:t>
            </a:r>
            <a:r>
              <a:rPr sz="1200" b="1" spc="-51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101" b="1" dirty="0">
                <a:latin typeface="Arial"/>
                <a:cs typeface="Arial"/>
              </a:rPr>
              <a:t>–</a:t>
            </a:r>
            <a:r>
              <a:rPr sz="1101" b="1" spc="246" dirty="0">
                <a:latin typeface="Arial"/>
                <a:cs typeface="Arial"/>
              </a:rPr>
              <a:t> </a:t>
            </a:r>
            <a:r>
              <a:rPr sz="1000" i="1" dirty="0">
                <a:latin typeface="Arial"/>
                <a:cs typeface="Arial"/>
              </a:rPr>
              <a:t>Risques</a:t>
            </a:r>
            <a:r>
              <a:rPr sz="1000" i="1" spc="-35" dirty="0">
                <a:latin typeface="Arial"/>
                <a:cs typeface="Arial"/>
              </a:rPr>
              <a:t> </a:t>
            </a:r>
            <a:r>
              <a:rPr sz="1000" i="1" dirty="0">
                <a:latin typeface="Arial"/>
                <a:cs typeface="Arial"/>
              </a:rPr>
              <a:t>physiques</a:t>
            </a:r>
            <a:r>
              <a:rPr sz="1000" i="1" spc="-35" dirty="0">
                <a:latin typeface="Arial"/>
                <a:cs typeface="Arial"/>
              </a:rPr>
              <a:t> </a:t>
            </a:r>
            <a:r>
              <a:rPr sz="1000" i="1" dirty="0">
                <a:latin typeface="Arial"/>
                <a:cs typeface="Arial"/>
              </a:rPr>
              <a:t>et</a:t>
            </a:r>
            <a:r>
              <a:rPr sz="1000" i="1" spc="-25" dirty="0">
                <a:latin typeface="Arial"/>
                <a:cs typeface="Arial"/>
              </a:rPr>
              <a:t> </a:t>
            </a:r>
            <a:r>
              <a:rPr sz="1000" i="1" dirty="0">
                <a:latin typeface="Arial"/>
                <a:cs typeface="Arial"/>
              </a:rPr>
              <a:t>de</a:t>
            </a:r>
            <a:r>
              <a:rPr sz="1000" i="1" spc="-40" dirty="0">
                <a:latin typeface="Arial"/>
                <a:cs typeface="Arial"/>
              </a:rPr>
              <a:t> </a:t>
            </a:r>
            <a:r>
              <a:rPr sz="1000" i="1" dirty="0">
                <a:latin typeface="Arial"/>
                <a:cs typeface="Arial"/>
              </a:rPr>
              <a:t>transition,</a:t>
            </a:r>
            <a:r>
              <a:rPr sz="1000" i="1" spc="-4" dirty="0">
                <a:latin typeface="Arial"/>
                <a:cs typeface="Arial"/>
              </a:rPr>
              <a:t> </a:t>
            </a:r>
            <a:r>
              <a:rPr sz="1000" i="1" dirty="0">
                <a:latin typeface="Arial"/>
                <a:cs typeface="Arial"/>
              </a:rPr>
              <a:t>reporting</a:t>
            </a:r>
            <a:r>
              <a:rPr sz="1000" i="1" spc="-25" dirty="0">
                <a:latin typeface="Arial"/>
                <a:cs typeface="Arial"/>
              </a:rPr>
              <a:t> </a:t>
            </a:r>
            <a:r>
              <a:rPr sz="1000" i="1" spc="-10" dirty="0">
                <a:latin typeface="Arial"/>
                <a:cs typeface="Arial"/>
              </a:rPr>
              <a:t>règlementaire…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805436" y="3583687"/>
            <a:ext cx="8341359" cy="277495"/>
          </a:xfrm>
          <a:custGeom>
            <a:avLst/>
            <a:gdLst/>
            <a:ahLst/>
            <a:cxnLst/>
            <a:rect l="l" t="t" r="r" b="b"/>
            <a:pathLst>
              <a:path w="8341359" h="277495">
                <a:moveTo>
                  <a:pt x="0" y="277368"/>
                </a:moveTo>
                <a:lnTo>
                  <a:pt x="8340852" y="277368"/>
                </a:lnTo>
                <a:lnTo>
                  <a:pt x="8340852" y="0"/>
                </a:lnTo>
                <a:lnTo>
                  <a:pt x="0" y="0"/>
                </a:lnTo>
                <a:lnTo>
                  <a:pt x="0" y="277368"/>
                </a:lnTo>
                <a:close/>
              </a:path>
            </a:pathLst>
          </a:custGeom>
          <a:ln w="19050">
            <a:solidFill>
              <a:srgbClr val="00843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 txBox="1"/>
          <p:nvPr/>
        </p:nvSpPr>
        <p:spPr>
          <a:xfrm>
            <a:off x="2970404" y="3612261"/>
            <a:ext cx="4006214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699">
              <a:spcBef>
                <a:spcPts val="100"/>
              </a:spcBef>
            </a:pP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Construire</a:t>
            </a:r>
            <a:r>
              <a:rPr sz="1200" b="1" spc="-45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une</a:t>
            </a:r>
            <a:r>
              <a:rPr sz="1200" b="1" spc="-25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trajectoire</a:t>
            </a:r>
            <a:r>
              <a:rPr sz="1200" b="1" spc="-45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carbone</a:t>
            </a:r>
            <a:r>
              <a:rPr sz="1200" b="1" spc="-45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de</a:t>
            </a:r>
            <a:r>
              <a:rPr sz="1200" b="1" spc="-45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nos</a:t>
            </a:r>
            <a:r>
              <a:rPr sz="1200" b="1" spc="-20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spc="-10" dirty="0">
                <a:solidFill>
                  <a:srgbClr val="00843C"/>
                </a:solidFill>
                <a:latin typeface="Arial"/>
                <a:cs typeface="Arial"/>
              </a:rPr>
              <a:t>portefeuilles</a:t>
            </a:r>
            <a:endParaRPr sz="1200">
              <a:latin typeface="Arial"/>
              <a:cs typeface="Arial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805436" y="3912869"/>
            <a:ext cx="8341359" cy="431799"/>
          </a:xfrm>
          <a:custGeom>
            <a:avLst/>
            <a:gdLst/>
            <a:ahLst/>
            <a:cxnLst/>
            <a:rect l="l" t="t" r="r" b="b"/>
            <a:pathLst>
              <a:path w="8341359" h="431800">
                <a:moveTo>
                  <a:pt x="0" y="431292"/>
                </a:moveTo>
                <a:lnTo>
                  <a:pt x="8340852" y="431292"/>
                </a:lnTo>
                <a:lnTo>
                  <a:pt x="8340852" y="0"/>
                </a:lnTo>
                <a:lnTo>
                  <a:pt x="0" y="0"/>
                </a:lnTo>
                <a:lnTo>
                  <a:pt x="0" y="431292"/>
                </a:lnTo>
                <a:close/>
              </a:path>
            </a:pathLst>
          </a:custGeom>
          <a:ln w="19050">
            <a:solidFill>
              <a:srgbClr val="00843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 txBox="1"/>
          <p:nvPr/>
        </p:nvSpPr>
        <p:spPr>
          <a:xfrm>
            <a:off x="2042289" y="3941825"/>
            <a:ext cx="5860414" cy="35137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spcBef>
                <a:spcPts val="100"/>
              </a:spcBef>
            </a:pP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Créer</a:t>
            </a:r>
            <a:r>
              <a:rPr sz="1200" b="1" spc="-61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de</a:t>
            </a:r>
            <a:r>
              <a:rPr sz="1200" b="1" spc="-30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la</a:t>
            </a:r>
            <a:r>
              <a:rPr sz="1200" b="1" spc="-25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donnée</a:t>
            </a:r>
            <a:r>
              <a:rPr sz="1200" b="1" spc="-25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Climat</a:t>
            </a:r>
            <a:r>
              <a:rPr sz="1200" b="1" spc="-40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qualifiée</a:t>
            </a:r>
            <a:r>
              <a:rPr sz="1200" b="1" spc="-25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pour</a:t>
            </a:r>
            <a:r>
              <a:rPr sz="1200" b="1" spc="-20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la</a:t>
            </a:r>
            <a:r>
              <a:rPr sz="1200" b="1" spc="-30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valoriser</a:t>
            </a:r>
            <a:r>
              <a:rPr sz="1200" b="1" spc="-35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dans</a:t>
            </a:r>
            <a:r>
              <a:rPr sz="1200" b="1" spc="-30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nos</a:t>
            </a:r>
            <a:r>
              <a:rPr sz="1200" b="1" spc="-25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chantiers</a:t>
            </a:r>
            <a:r>
              <a:rPr sz="1200" b="1" spc="-45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spc="-10" dirty="0">
                <a:solidFill>
                  <a:srgbClr val="00843C"/>
                </a:solidFill>
                <a:latin typeface="Arial"/>
                <a:cs typeface="Arial"/>
              </a:rPr>
              <a:t>internes</a:t>
            </a:r>
            <a:endParaRPr sz="1200">
              <a:latin typeface="Arial"/>
              <a:cs typeface="Arial"/>
            </a:endParaRPr>
          </a:p>
          <a:p>
            <a:pPr marL="636" algn="ctr">
              <a:spcBef>
                <a:spcPts val="4"/>
              </a:spcBef>
            </a:pPr>
            <a:r>
              <a:rPr sz="1000" i="1" spc="-10" dirty="0">
                <a:latin typeface="Arial"/>
                <a:cs typeface="Arial"/>
              </a:rPr>
              <a:t>Renforcement</a:t>
            </a:r>
            <a:r>
              <a:rPr sz="1000" i="1" spc="-25" dirty="0">
                <a:latin typeface="Arial"/>
                <a:cs typeface="Arial"/>
              </a:rPr>
              <a:t> </a:t>
            </a:r>
            <a:r>
              <a:rPr sz="1000" i="1" dirty="0">
                <a:latin typeface="Arial"/>
                <a:cs typeface="Arial"/>
              </a:rPr>
              <a:t>du</a:t>
            </a:r>
            <a:r>
              <a:rPr sz="1000" i="1" spc="-40" dirty="0">
                <a:latin typeface="Arial"/>
                <a:cs typeface="Arial"/>
              </a:rPr>
              <a:t> </a:t>
            </a:r>
            <a:r>
              <a:rPr sz="1000" i="1" dirty="0">
                <a:latin typeface="Arial"/>
                <a:cs typeface="Arial"/>
              </a:rPr>
              <a:t>Comptoir climat</a:t>
            </a:r>
            <a:r>
              <a:rPr sz="1000" i="1" spc="-20" dirty="0">
                <a:latin typeface="Arial"/>
                <a:cs typeface="Arial"/>
              </a:rPr>
              <a:t> </a:t>
            </a:r>
            <a:r>
              <a:rPr sz="1000" i="1" dirty="0">
                <a:latin typeface="Arial"/>
                <a:cs typeface="Arial"/>
              </a:rPr>
              <a:t>et</a:t>
            </a:r>
            <a:r>
              <a:rPr sz="1000" i="1" spc="-25" dirty="0">
                <a:latin typeface="Arial"/>
                <a:cs typeface="Arial"/>
              </a:rPr>
              <a:t> </a:t>
            </a:r>
            <a:r>
              <a:rPr sz="1000" i="1" dirty="0">
                <a:latin typeface="Arial"/>
                <a:cs typeface="Arial"/>
              </a:rPr>
              <a:t>des</a:t>
            </a:r>
            <a:r>
              <a:rPr sz="1000" i="1" spc="-30" dirty="0">
                <a:latin typeface="Arial"/>
                <a:cs typeface="Arial"/>
              </a:rPr>
              <a:t> </a:t>
            </a:r>
            <a:r>
              <a:rPr sz="1000" i="1" dirty="0">
                <a:latin typeface="Arial"/>
                <a:cs typeface="Arial"/>
              </a:rPr>
              <a:t>KPI</a:t>
            </a:r>
            <a:r>
              <a:rPr sz="1000" i="1" spc="-14" dirty="0">
                <a:latin typeface="Arial"/>
                <a:cs typeface="Arial"/>
              </a:rPr>
              <a:t> </a:t>
            </a:r>
            <a:r>
              <a:rPr sz="1000" i="1" dirty="0">
                <a:latin typeface="Arial"/>
                <a:cs typeface="Arial"/>
              </a:rPr>
              <a:t>via</a:t>
            </a:r>
            <a:r>
              <a:rPr sz="1000" i="1" spc="-25" dirty="0">
                <a:latin typeface="Arial"/>
                <a:cs typeface="Arial"/>
              </a:rPr>
              <a:t> </a:t>
            </a:r>
            <a:r>
              <a:rPr sz="1000" i="1" dirty="0">
                <a:latin typeface="Arial"/>
                <a:cs typeface="Arial"/>
              </a:rPr>
              <a:t>une</a:t>
            </a:r>
            <a:r>
              <a:rPr sz="1000" i="1" spc="-40" dirty="0">
                <a:latin typeface="Arial"/>
                <a:cs typeface="Arial"/>
              </a:rPr>
              <a:t> </a:t>
            </a:r>
            <a:r>
              <a:rPr sz="1000" i="1" dirty="0">
                <a:latin typeface="Arial"/>
                <a:cs typeface="Arial"/>
              </a:rPr>
              <a:t>donnée</a:t>
            </a:r>
            <a:r>
              <a:rPr sz="1000" i="1" spc="-40" dirty="0">
                <a:latin typeface="Arial"/>
                <a:cs typeface="Arial"/>
              </a:rPr>
              <a:t> </a:t>
            </a:r>
            <a:r>
              <a:rPr sz="1000" i="1" dirty="0">
                <a:latin typeface="Arial"/>
                <a:cs typeface="Arial"/>
              </a:rPr>
              <a:t>de</a:t>
            </a:r>
            <a:r>
              <a:rPr sz="1000" i="1" spc="-25" dirty="0">
                <a:latin typeface="Arial"/>
                <a:cs typeface="Arial"/>
              </a:rPr>
              <a:t> </a:t>
            </a:r>
            <a:r>
              <a:rPr sz="1000" i="1" dirty="0">
                <a:latin typeface="Arial"/>
                <a:cs typeface="Arial"/>
              </a:rPr>
              <a:t>qualité</a:t>
            </a:r>
            <a:r>
              <a:rPr sz="1000" i="1" spc="-30" dirty="0">
                <a:latin typeface="Arial"/>
                <a:cs typeface="Arial"/>
              </a:rPr>
              <a:t> </a:t>
            </a:r>
            <a:r>
              <a:rPr sz="1000" i="1" dirty="0">
                <a:latin typeface="Arial"/>
                <a:cs typeface="Arial"/>
              </a:rPr>
              <a:t>et</a:t>
            </a:r>
            <a:r>
              <a:rPr sz="1000" i="1" spc="-25" dirty="0">
                <a:latin typeface="Arial"/>
                <a:cs typeface="Arial"/>
              </a:rPr>
              <a:t> </a:t>
            </a:r>
            <a:r>
              <a:rPr sz="1000" i="1" dirty="0">
                <a:latin typeface="Arial"/>
                <a:cs typeface="Arial"/>
              </a:rPr>
              <a:t>la</a:t>
            </a:r>
            <a:r>
              <a:rPr sz="1000" i="1" spc="-25" dirty="0">
                <a:latin typeface="Arial"/>
                <a:cs typeface="Arial"/>
              </a:rPr>
              <a:t> </a:t>
            </a:r>
            <a:r>
              <a:rPr sz="1000" i="1" dirty="0">
                <a:latin typeface="Arial"/>
                <a:cs typeface="Arial"/>
              </a:rPr>
              <a:t>collecte</a:t>
            </a:r>
            <a:r>
              <a:rPr sz="1000" i="1" spc="-20" dirty="0">
                <a:latin typeface="Arial"/>
                <a:cs typeface="Arial"/>
              </a:rPr>
              <a:t> </a:t>
            </a:r>
            <a:r>
              <a:rPr sz="1000" i="1" dirty="0">
                <a:latin typeface="Arial"/>
                <a:cs typeface="Arial"/>
              </a:rPr>
              <a:t>de</a:t>
            </a:r>
            <a:r>
              <a:rPr sz="1000" i="1" spc="-35" dirty="0">
                <a:latin typeface="Arial"/>
                <a:cs typeface="Arial"/>
              </a:rPr>
              <a:t> </a:t>
            </a:r>
            <a:r>
              <a:rPr sz="1000" i="1" spc="-10" dirty="0">
                <a:latin typeface="Arial"/>
                <a:cs typeface="Arial"/>
              </a:rPr>
              <a:t>probants</a:t>
            </a:r>
            <a:endParaRPr sz="1000">
              <a:latin typeface="Arial"/>
              <a:cs typeface="Arial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805436" y="4729735"/>
            <a:ext cx="8341359" cy="277495"/>
          </a:xfrm>
          <a:custGeom>
            <a:avLst/>
            <a:gdLst/>
            <a:ahLst/>
            <a:cxnLst/>
            <a:rect l="l" t="t" r="r" b="b"/>
            <a:pathLst>
              <a:path w="8341359" h="277495">
                <a:moveTo>
                  <a:pt x="0" y="277368"/>
                </a:moveTo>
                <a:lnTo>
                  <a:pt x="8340852" y="277368"/>
                </a:lnTo>
                <a:lnTo>
                  <a:pt x="8340852" y="0"/>
                </a:lnTo>
                <a:lnTo>
                  <a:pt x="0" y="0"/>
                </a:lnTo>
                <a:lnTo>
                  <a:pt x="0" y="277368"/>
                </a:lnTo>
                <a:close/>
              </a:path>
            </a:pathLst>
          </a:custGeom>
          <a:ln w="19050">
            <a:solidFill>
              <a:srgbClr val="00843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 txBox="1"/>
          <p:nvPr/>
        </p:nvSpPr>
        <p:spPr>
          <a:xfrm>
            <a:off x="1761871" y="4758691"/>
            <a:ext cx="6419851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699">
              <a:spcBef>
                <a:spcPts val="100"/>
              </a:spcBef>
            </a:pP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S’inscrire</a:t>
            </a:r>
            <a:r>
              <a:rPr sz="1200" b="1" spc="-55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comme</a:t>
            </a:r>
            <a:r>
              <a:rPr sz="1200" b="1" spc="-40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moteur</a:t>
            </a:r>
            <a:r>
              <a:rPr sz="1200" b="1" spc="-25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dans</a:t>
            </a:r>
            <a:r>
              <a:rPr sz="1200" b="1" spc="-25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notre</a:t>
            </a:r>
            <a:r>
              <a:rPr sz="1200" b="1" spc="-25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écosystème</a:t>
            </a:r>
            <a:r>
              <a:rPr sz="1200" b="1" spc="-45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pour</a:t>
            </a:r>
            <a:r>
              <a:rPr sz="1200" b="1" spc="-10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accélérer</a:t>
            </a:r>
            <a:r>
              <a:rPr sz="1200" b="1" spc="-69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la</a:t>
            </a:r>
            <a:r>
              <a:rPr sz="1200" b="1" spc="-20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TEE</a:t>
            </a:r>
            <a:r>
              <a:rPr sz="1200" b="1" spc="-20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à</a:t>
            </a:r>
            <a:r>
              <a:rPr sz="1200" b="1" spc="-30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grande</a:t>
            </a:r>
            <a:r>
              <a:rPr sz="1200" b="1" spc="-35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spc="-10" dirty="0">
                <a:solidFill>
                  <a:srgbClr val="00843C"/>
                </a:solidFill>
                <a:latin typeface="Arial"/>
                <a:cs typeface="Arial"/>
              </a:rPr>
              <a:t>échelle</a:t>
            </a:r>
            <a:endParaRPr sz="1200">
              <a:latin typeface="Arial"/>
              <a:cs typeface="Arial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805436" y="5058918"/>
            <a:ext cx="8341359" cy="277495"/>
          </a:xfrm>
          <a:custGeom>
            <a:avLst/>
            <a:gdLst/>
            <a:ahLst/>
            <a:cxnLst/>
            <a:rect l="l" t="t" r="r" b="b"/>
            <a:pathLst>
              <a:path w="8341359" h="277495">
                <a:moveTo>
                  <a:pt x="0" y="277367"/>
                </a:moveTo>
                <a:lnTo>
                  <a:pt x="8340852" y="277367"/>
                </a:lnTo>
                <a:lnTo>
                  <a:pt x="8340852" y="0"/>
                </a:lnTo>
                <a:lnTo>
                  <a:pt x="0" y="0"/>
                </a:lnTo>
                <a:lnTo>
                  <a:pt x="0" y="277367"/>
                </a:lnTo>
                <a:close/>
              </a:path>
            </a:pathLst>
          </a:custGeom>
          <a:ln w="19050">
            <a:solidFill>
              <a:srgbClr val="00843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 txBox="1"/>
          <p:nvPr/>
        </p:nvSpPr>
        <p:spPr>
          <a:xfrm>
            <a:off x="1702055" y="5088128"/>
            <a:ext cx="653986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699">
              <a:spcBef>
                <a:spcPts val="100"/>
              </a:spcBef>
            </a:pP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Faire</a:t>
            </a:r>
            <a:r>
              <a:rPr sz="1200" b="1" spc="-35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du</a:t>
            </a:r>
            <a:r>
              <a:rPr sz="1200" b="1" spc="-25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Coq</a:t>
            </a:r>
            <a:r>
              <a:rPr sz="1200" b="1" spc="-20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spc="-10" dirty="0">
                <a:solidFill>
                  <a:srgbClr val="00843C"/>
                </a:solidFill>
                <a:latin typeface="Arial"/>
                <a:cs typeface="Arial"/>
              </a:rPr>
              <a:t>Vert</a:t>
            </a:r>
            <a:r>
              <a:rPr sz="1200" b="1" spc="-55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un</a:t>
            </a:r>
            <a:r>
              <a:rPr sz="1200" b="1" spc="-20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laboratoire</a:t>
            </a:r>
            <a:r>
              <a:rPr sz="1200" b="1" spc="-35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d’idées</a:t>
            </a:r>
            <a:r>
              <a:rPr sz="1200" b="1" spc="-40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vecteur</a:t>
            </a:r>
            <a:r>
              <a:rPr sz="1200" b="1" spc="-35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d’émulation</a:t>
            </a:r>
            <a:r>
              <a:rPr sz="1200" b="1" spc="-25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collective</a:t>
            </a:r>
            <a:r>
              <a:rPr sz="1200" b="1" spc="-40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dans</a:t>
            </a:r>
            <a:r>
              <a:rPr sz="1200" b="1" spc="-35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les</a:t>
            </a:r>
            <a:r>
              <a:rPr sz="1200" b="1" spc="-40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spc="-10" dirty="0">
                <a:solidFill>
                  <a:srgbClr val="00843C"/>
                </a:solidFill>
                <a:latin typeface="Arial"/>
                <a:cs typeface="Arial"/>
              </a:rPr>
              <a:t>territoires</a:t>
            </a:r>
            <a:endParaRPr sz="1200">
              <a:latin typeface="Arial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6718555" y="1798069"/>
            <a:ext cx="2342515" cy="44435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699" marR="5080">
              <a:spcBef>
                <a:spcPts val="105"/>
              </a:spcBef>
            </a:pPr>
            <a:r>
              <a:rPr sz="1400" b="1" dirty="0">
                <a:solidFill>
                  <a:srgbClr val="00843C"/>
                </a:solidFill>
                <a:latin typeface="Arial"/>
                <a:cs typeface="Arial"/>
              </a:rPr>
              <a:t>et</a:t>
            </a:r>
            <a:r>
              <a:rPr sz="1400" b="1" spc="-40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00843C"/>
                </a:solidFill>
                <a:latin typeface="Arial"/>
                <a:cs typeface="Arial"/>
              </a:rPr>
              <a:t>l’expansion</a:t>
            </a:r>
            <a:r>
              <a:rPr sz="1400" b="1" spc="-69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00843C"/>
                </a:solidFill>
                <a:latin typeface="Arial"/>
                <a:cs typeface="Arial"/>
              </a:rPr>
              <a:t>des</a:t>
            </a:r>
            <a:r>
              <a:rPr sz="1400" b="1" spc="-25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00843C"/>
                </a:solidFill>
                <a:latin typeface="Arial"/>
                <a:cs typeface="Arial"/>
              </a:rPr>
              <a:t>marchés </a:t>
            </a:r>
            <a:r>
              <a:rPr sz="1400" b="1" dirty="0">
                <a:solidFill>
                  <a:srgbClr val="00843C"/>
                </a:solidFill>
                <a:latin typeface="Arial"/>
                <a:cs typeface="Arial"/>
              </a:rPr>
              <a:t>d’énergie</a:t>
            </a:r>
            <a:r>
              <a:rPr sz="1400" b="1" spc="-79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00843C"/>
                </a:solidFill>
                <a:latin typeface="Arial"/>
                <a:cs typeface="Arial"/>
              </a:rPr>
              <a:t>décarbonée</a:t>
            </a:r>
            <a:endParaRPr sz="1400">
              <a:latin typeface="Arial"/>
              <a:cs typeface="Arial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6731001" y="2288795"/>
            <a:ext cx="2240280" cy="86049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81603" marR="5080" indent="-169538">
              <a:spcBef>
                <a:spcPts val="105"/>
              </a:spcBef>
              <a:buChar char="•"/>
              <a:tabLst>
                <a:tab pos="184778" algn="l"/>
              </a:tabLst>
            </a:pPr>
            <a:r>
              <a:rPr sz="1101" dirty="0">
                <a:latin typeface="Arial"/>
                <a:cs typeface="Arial"/>
              </a:rPr>
              <a:t>Soutien</a:t>
            </a:r>
            <a:r>
              <a:rPr sz="1101" spc="-35" dirty="0">
                <a:latin typeface="Arial"/>
                <a:cs typeface="Arial"/>
              </a:rPr>
              <a:t> </a:t>
            </a:r>
            <a:r>
              <a:rPr sz="1101" dirty="0">
                <a:latin typeface="Arial"/>
                <a:cs typeface="Arial"/>
              </a:rPr>
              <a:t>à</a:t>
            </a:r>
            <a:r>
              <a:rPr sz="1101" spc="-30" dirty="0">
                <a:latin typeface="Arial"/>
                <a:cs typeface="Arial"/>
              </a:rPr>
              <a:t> </a:t>
            </a:r>
            <a:r>
              <a:rPr sz="1101" dirty="0">
                <a:latin typeface="Arial"/>
                <a:cs typeface="Arial"/>
              </a:rPr>
              <a:t>la</a:t>
            </a:r>
            <a:r>
              <a:rPr sz="1101" spc="-25" dirty="0">
                <a:latin typeface="Arial"/>
                <a:cs typeface="Arial"/>
              </a:rPr>
              <a:t> </a:t>
            </a:r>
            <a:r>
              <a:rPr sz="1101" dirty="0">
                <a:latin typeface="Arial"/>
                <a:cs typeface="Arial"/>
              </a:rPr>
              <a:t>production</a:t>
            </a:r>
            <a:r>
              <a:rPr sz="1101" spc="-40" dirty="0">
                <a:latin typeface="Arial"/>
                <a:cs typeface="Arial"/>
              </a:rPr>
              <a:t> </a:t>
            </a:r>
            <a:r>
              <a:rPr sz="1101" spc="-10" dirty="0">
                <a:latin typeface="Arial"/>
                <a:cs typeface="Arial"/>
              </a:rPr>
              <a:t>d’énergie 	décarbonée</a:t>
            </a:r>
            <a:endParaRPr sz="1101">
              <a:latin typeface="Arial"/>
              <a:cs typeface="Arial"/>
            </a:endParaRPr>
          </a:p>
          <a:p>
            <a:pPr marL="181603" marR="478769" indent="-169538">
              <a:buChar char="•"/>
              <a:tabLst>
                <a:tab pos="184778" algn="l"/>
              </a:tabLst>
            </a:pPr>
            <a:r>
              <a:rPr sz="1101" dirty="0">
                <a:latin typeface="Arial"/>
                <a:cs typeface="Arial"/>
              </a:rPr>
              <a:t>Incitation</a:t>
            </a:r>
            <a:r>
              <a:rPr sz="1101" spc="-40" dirty="0">
                <a:latin typeface="Arial"/>
                <a:cs typeface="Arial"/>
              </a:rPr>
              <a:t> </a:t>
            </a:r>
            <a:r>
              <a:rPr sz="1101" dirty="0">
                <a:latin typeface="Arial"/>
                <a:cs typeface="Arial"/>
              </a:rPr>
              <a:t>à</a:t>
            </a:r>
            <a:r>
              <a:rPr sz="1101" spc="-30" dirty="0">
                <a:latin typeface="Arial"/>
                <a:cs typeface="Arial"/>
              </a:rPr>
              <a:t> </a:t>
            </a:r>
            <a:r>
              <a:rPr sz="1101" dirty="0">
                <a:latin typeface="Arial"/>
                <a:cs typeface="Arial"/>
              </a:rPr>
              <a:t>la</a:t>
            </a:r>
            <a:r>
              <a:rPr sz="1101" spc="-20" dirty="0">
                <a:latin typeface="Arial"/>
                <a:cs typeface="Arial"/>
              </a:rPr>
              <a:t> </a:t>
            </a:r>
            <a:r>
              <a:rPr sz="1101" spc="-10" dirty="0">
                <a:latin typeface="Arial"/>
                <a:cs typeface="Arial"/>
              </a:rPr>
              <a:t>réutilisation 	</a:t>
            </a:r>
            <a:r>
              <a:rPr sz="1101" dirty="0">
                <a:latin typeface="Arial"/>
                <a:cs typeface="Arial"/>
              </a:rPr>
              <a:t>d’énergie</a:t>
            </a:r>
            <a:r>
              <a:rPr sz="1101" spc="-35" dirty="0">
                <a:latin typeface="Arial"/>
                <a:cs typeface="Arial"/>
              </a:rPr>
              <a:t> </a:t>
            </a:r>
            <a:r>
              <a:rPr sz="1101" dirty="0">
                <a:latin typeface="Arial"/>
                <a:cs typeface="Arial"/>
              </a:rPr>
              <a:t>et</a:t>
            </a:r>
            <a:r>
              <a:rPr sz="1101" spc="-40" dirty="0">
                <a:latin typeface="Arial"/>
                <a:cs typeface="Arial"/>
              </a:rPr>
              <a:t> </a:t>
            </a:r>
            <a:r>
              <a:rPr sz="1101" spc="-51" dirty="0">
                <a:latin typeface="Arial"/>
                <a:cs typeface="Arial"/>
              </a:rPr>
              <a:t>à 	</a:t>
            </a:r>
            <a:r>
              <a:rPr sz="1101" spc="-10" dirty="0">
                <a:latin typeface="Arial"/>
                <a:cs typeface="Arial"/>
              </a:rPr>
              <a:t>l’autoconsommation</a:t>
            </a:r>
            <a:endParaRPr sz="1101">
              <a:latin typeface="Arial"/>
              <a:cs typeface="Arial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931876" y="2141018"/>
            <a:ext cx="2632709" cy="1199303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81603" marR="5080" indent="-169538">
              <a:spcBef>
                <a:spcPts val="105"/>
              </a:spcBef>
              <a:buChar char="•"/>
              <a:tabLst>
                <a:tab pos="184778" algn="l"/>
              </a:tabLst>
            </a:pPr>
            <a:r>
              <a:rPr sz="1101" dirty="0">
                <a:latin typeface="Arial"/>
                <a:cs typeface="Arial"/>
              </a:rPr>
              <a:t>Porte</a:t>
            </a:r>
            <a:r>
              <a:rPr sz="1101" spc="-25" dirty="0">
                <a:latin typeface="Arial"/>
                <a:cs typeface="Arial"/>
              </a:rPr>
              <a:t> </a:t>
            </a:r>
            <a:r>
              <a:rPr sz="1101" dirty="0">
                <a:latin typeface="Arial"/>
                <a:cs typeface="Arial"/>
              </a:rPr>
              <a:t>à</a:t>
            </a:r>
            <a:r>
              <a:rPr sz="1101" spc="-14" dirty="0">
                <a:latin typeface="Arial"/>
                <a:cs typeface="Arial"/>
              </a:rPr>
              <a:t> </a:t>
            </a:r>
            <a:r>
              <a:rPr sz="1101" dirty="0">
                <a:latin typeface="Arial"/>
                <a:cs typeface="Arial"/>
              </a:rPr>
              <a:t>porte</a:t>
            </a:r>
            <a:r>
              <a:rPr sz="1101" spc="-40" dirty="0">
                <a:latin typeface="Arial"/>
                <a:cs typeface="Arial"/>
              </a:rPr>
              <a:t> </a:t>
            </a:r>
            <a:r>
              <a:rPr sz="1101" dirty="0">
                <a:latin typeface="Arial"/>
                <a:cs typeface="Arial"/>
              </a:rPr>
              <a:t>de</a:t>
            </a:r>
            <a:r>
              <a:rPr sz="1101" spc="-14" dirty="0">
                <a:latin typeface="Arial"/>
                <a:cs typeface="Arial"/>
              </a:rPr>
              <a:t> </a:t>
            </a:r>
            <a:r>
              <a:rPr sz="1101" dirty="0">
                <a:latin typeface="Arial"/>
                <a:cs typeface="Arial"/>
              </a:rPr>
              <a:t>masse</a:t>
            </a:r>
            <a:r>
              <a:rPr sz="1101" spc="-30" dirty="0">
                <a:latin typeface="Arial"/>
                <a:cs typeface="Arial"/>
              </a:rPr>
              <a:t> </a:t>
            </a:r>
            <a:r>
              <a:rPr sz="1101" dirty="0">
                <a:latin typeface="Arial"/>
                <a:cs typeface="Arial"/>
              </a:rPr>
              <a:t>avec</a:t>
            </a:r>
            <a:r>
              <a:rPr sz="1101" spc="-4" dirty="0">
                <a:latin typeface="Arial"/>
                <a:cs typeface="Arial"/>
              </a:rPr>
              <a:t> </a:t>
            </a:r>
            <a:r>
              <a:rPr sz="1101" dirty="0">
                <a:latin typeface="Arial"/>
                <a:cs typeface="Arial"/>
              </a:rPr>
              <a:t>des</a:t>
            </a:r>
            <a:r>
              <a:rPr sz="1101" spc="-10" dirty="0">
                <a:latin typeface="Arial"/>
                <a:cs typeface="Arial"/>
              </a:rPr>
              <a:t> offres 	dédiées</a:t>
            </a:r>
            <a:endParaRPr sz="1101" dirty="0">
              <a:latin typeface="Arial"/>
              <a:cs typeface="Arial"/>
            </a:endParaRPr>
          </a:p>
          <a:p>
            <a:pPr marL="182237" indent="-169538">
              <a:buChar char="•"/>
              <a:tabLst>
                <a:tab pos="182237" algn="l"/>
              </a:tabLst>
            </a:pPr>
            <a:r>
              <a:rPr sz="1101" dirty="0">
                <a:latin typeface="Arial"/>
                <a:cs typeface="Arial"/>
              </a:rPr>
              <a:t>Indice</a:t>
            </a:r>
            <a:r>
              <a:rPr sz="1101" spc="-30" dirty="0">
                <a:latin typeface="Arial"/>
                <a:cs typeface="Arial"/>
              </a:rPr>
              <a:t> </a:t>
            </a:r>
            <a:r>
              <a:rPr sz="1101" dirty="0">
                <a:latin typeface="Arial"/>
                <a:cs typeface="Arial"/>
              </a:rPr>
              <a:t>de</a:t>
            </a:r>
            <a:r>
              <a:rPr sz="1101" spc="-30" dirty="0">
                <a:latin typeface="Arial"/>
                <a:cs typeface="Arial"/>
              </a:rPr>
              <a:t> </a:t>
            </a:r>
            <a:r>
              <a:rPr sz="1101" dirty="0">
                <a:latin typeface="Arial"/>
                <a:cs typeface="Arial"/>
              </a:rPr>
              <a:t>Maturité</a:t>
            </a:r>
            <a:r>
              <a:rPr sz="1101" spc="-40" dirty="0">
                <a:latin typeface="Arial"/>
                <a:cs typeface="Arial"/>
              </a:rPr>
              <a:t> </a:t>
            </a:r>
            <a:r>
              <a:rPr sz="1101" spc="-10" dirty="0">
                <a:latin typeface="Arial"/>
                <a:cs typeface="Arial"/>
              </a:rPr>
              <a:t>Climat</a:t>
            </a:r>
            <a:endParaRPr sz="1101" dirty="0">
              <a:latin typeface="Arial"/>
              <a:cs typeface="Arial"/>
            </a:endParaRPr>
          </a:p>
          <a:p>
            <a:pPr marL="181603" marR="339711" indent="-169538">
              <a:buChar char="•"/>
              <a:tabLst>
                <a:tab pos="184778" algn="l"/>
              </a:tabLst>
            </a:pPr>
            <a:r>
              <a:rPr sz="1101" dirty="0">
                <a:latin typeface="Arial"/>
                <a:cs typeface="Arial"/>
              </a:rPr>
              <a:t>Plan</a:t>
            </a:r>
            <a:r>
              <a:rPr sz="1101" spc="-51" dirty="0">
                <a:latin typeface="Arial"/>
                <a:cs typeface="Arial"/>
              </a:rPr>
              <a:t> </a:t>
            </a:r>
            <a:r>
              <a:rPr sz="1101" dirty="0">
                <a:latin typeface="Arial"/>
                <a:cs typeface="Arial"/>
              </a:rPr>
              <a:t>d’Action</a:t>
            </a:r>
            <a:r>
              <a:rPr sz="1101" spc="-51" dirty="0">
                <a:latin typeface="Arial"/>
                <a:cs typeface="Arial"/>
              </a:rPr>
              <a:t> </a:t>
            </a:r>
            <a:r>
              <a:rPr sz="1101" dirty="0">
                <a:latin typeface="Arial"/>
                <a:cs typeface="Arial"/>
              </a:rPr>
              <a:t>Climatique</a:t>
            </a:r>
            <a:r>
              <a:rPr sz="1101" spc="-45" dirty="0">
                <a:latin typeface="Arial"/>
                <a:cs typeface="Arial"/>
              </a:rPr>
              <a:t> </a:t>
            </a:r>
            <a:r>
              <a:rPr sz="1101" spc="-10" dirty="0">
                <a:latin typeface="Arial"/>
                <a:cs typeface="Arial"/>
              </a:rPr>
              <a:t>Sectoriel 	(PACS)</a:t>
            </a:r>
            <a:endParaRPr sz="1101" dirty="0">
              <a:latin typeface="Arial"/>
              <a:cs typeface="Arial"/>
            </a:endParaRPr>
          </a:p>
          <a:p>
            <a:pPr marL="182237" indent="-169538">
              <a:buChar char="•"/>
              <a:tabLst>
                <a:tab pos="182237" algn="l"/>
              </a:tabLst>
            </a:pPr>
            <a:r>
              <a:rPr sz="1101" dirty="0">
                <a:latin typeface="Arial"/>
                <a:cs typeface="Arial"/>
              </a:rPr>
              <a:t>Politiques</a:t>
            </a:r>
            <a:r>
              <a:rPr sz="1101" spc="-4" dirty="0">
                <a:latin typeface="Arial"/>
                <a:cs typeface="Arial"/>
              </a:rPr>
              <a:t> </a:t>
            </a:r>
            <a:r>
              <a:rPr sz="1101" spc="-10" dirty="0">
                <a:latin typeface="Arial"/>
                <a:cs typeface="Arial"/>
              </a:rPr>
              <a:t>d’intervention</a:t>
            </a:r>
            <a:r>
              <a:rPr sz="1101" spc="-4" dirty="0">
                <a:latin typeface="Arial"/>
                <a:cs typeface="Arial"/>
              </a:rPr>
              <a:t> </a:t>
            </a:r>
            <a:r>
              <a:rPr sz="1101" dirty="0">
                <a:latin typeface="Arial"/>
                <a:cs typeface="Arial"/>
              </a:rPr>
              <a:t>par</a:t>
            </a:r>
            <a:r>
              <a:rPr sz="1101" spc="-20" dirty="0">
                <a:latin typeface="Arial"/>
                <a:cs typeface="Arial"/>
              </a:rPr>
              <a:t> </a:t>
            </a:r>
            <a:r>
              <a:rPr sz="1101" dirty="0">
                <a:latin typeface="Arial"/>
                <a:cs typeface="Arial"/>
              </a:rPr>
              <a:t>métier</a:t>
            </a:r>
            <a:r>
              <a:rPr sz="1101" spc="-40" dirty="0">
                <a:latin typeface="Arial"/>
                <a:cs typeface="Arial"/>
              </a:rPr>
              <a:t> </a:t>
            </a:r>
            <a:r>
              <a:rPr sz="1101" spc="-25" dirty="0">
                <a:latin typeface="Arial"/>
                <a:cs typeface="Arial"/>
              </a:rPr>
              <a:t>et</a:t>
            </a:r>
            <a:endParaRPr sz="1101" dirty="0">
              <a:latin typeface="Arial"/>
              <a:cs typeface="Arial"/>
            </a:endParaRPr>
          </a:p>
          <a:p>
            <a:pPr marL="184778"/>
            <a:r>
              <a:rPr sz="1101" spc="-10" dirty="0">
                <a:latin typeface="Arial"/>
                <a:cs typeface="Arial"/>
              </a:rPr>
              <a:t>secteur</a:t>
            </a:r>
            <a:endParaRPr sz="1101" dirty="0">
              <a:latin typeface="Arial"/>
              <a:cs typeface="Arial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925171" y="1798069"/>
            <a:ext cx="4933315" cy="22890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699">
              <a:spcBef>
                <a:spcPts val="105"/>
              </a:spcBef>
              <a:tabLst>
                <a:tab pos="3153912" algn="l"/>
              </a:tabLst>
            </a:pPr>
            <a:r>
              <a:rPr sz="1400" b="1" dirty="0">
                <a:solidFill>
                  <a:srgbClr val="00843C"/>
                </a:solidFill>
                <a:latin typeface="Arial"/>
                <a:cs typeface="Arial"/>
              </a:rPr>
              <a:t>entreprises</a:t>
            </a:r>
            <a:r>
              <a:rPr sz="1400" b="1" spc="-75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00843C"/>
                </a:solidFill>
                <a:latin typeface="Arial"/>
                <a:cs typeface="Arial"/>
              </a:rPr>
              <a:t>d’ici</a:t>
            </a:r>
            <a:r>
              <a:rPr sz="1400" b="1" spc="-65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400" b="1" spc="-20" dirty="0">
                <a:solidFill>
                  <a:srgbClr val="00843C"/>
                </a:solidFill>
                <a:latin typeface="Arial"/>
                <a:cs typeface="Arial"/>
              </a:rPr>
              <a:t>2025</a:t>
            </a:r>
            <a:r>
              <a:rPr sz="1400" b="1" dirty="0">
                <a:solidFill>
                  <a:srgbClr val="00843C"/>
                </a:solidFill>
                <a:latin typeface="Arial"/>
                <a:cs typeface="Arial"/>
              </a:rPr>
              <a:t>	offreurs</a:t>
            </a:r>
            <a:r>
              <a:rPr sz="1400" b="1" spc="-51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00843C"/>
                </a:solidFill>
                <a:latin typeface="Arial"/>
                <a:cs typeface="Arial"/>
              </a:rPr>
              <a:t>de</a:t>
            </a:r>
            <a:r>
              <a:rPr sz="1400" b="1" spc="-35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00843C"/>
                </a:solidFill>
                <a:latin typeface="Arial"/>
                <a:cs typeface="Arial"/>
              </a:rPr>
              <a:t>solutions</a:t>
            </a:r>
            <a:endParaRPr sz="1400">
              <a:latin typeface="Arial"/>
              <a:cs typeface="Arial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4180459" y="2278507"/>
            <a:ext cx="2067560" cy="691087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81603" marR="276214" indent="-169538">
              <a:spcBef>
                <a:spcPts val="105"/>
              </a:spcBef>
              <a:buChar char="•"/>
              <a:tabLst>
                <a:tab pos="184778" algn="l"/>
              </a:tabLst>
            </a:pPr>
            <a:r>
              <a:rPr sz="1101" dirty="0">
                <a:latin typeface="Arial"/>
                <a:cs typeface="Arial"/>
              </a:rPr>
              <a:t>Assurer</a:t>
            </a:r>
            <a:r>
              <a:rPr sz="1101" spc="-40" dirty="0">
                <a:latin typeface="Arial"/>
                <a:cs typeface="Arial"/>
              </a:rPr>
              <a:t> </a:t>
            </a:r>
            <a:r>
              <a:rPr sz="1101" dirty="0">
                <a:latin typeface="Arial"/>
                <a:cs typeface="Arial"/>
              </a:rPr>
              <a:t>la</a:t>
            </a:r>
            <a:r>
              <a:rPr sz="1101" spc="-40" dirty="0">
                <a:latin typeface="Arial"/>
                <a:cs typeface="Arial"/>
              </a:rPr>
              <a:t> </a:t>
            </a:r>
            <a:r>
              <a:rPr sz="1101" dirty="0">
                <a:latin typeface="Arial"/>
                <a:cs typeface="Arial"/>
              </a:rPr>
              <a:t>croissance</a:t>
            </a:r>
            <a:r>
              <a:rPr sz="1101" spc="-35" dirty="0">
                <a:latin typeface="Arial"/>
                <a:cs typeface="Arial"/>
              </a:rPr>
              <a:t> </a:t>
            </a:r>
            <a:r>
              <a:rPr sz="1101" spc="-25" dirty="0">
                <a:latin typeface="Arial"/>
                <a:cs typeface="Arial"/>
              </a:rPr>
              <a:t>des 	ODS</a:t>
            </a:r>
            <a:endParaRPr sz="1101">
              <a:latin typeface="Arial"/>
              <a:cs typeface="Arial"/>
            </a:endParaRPr>
          </a:p>
          <a:p>
            <a:pPr marL="181603" marR="5080" indent="-169538">
              <a:buChar char="•"/>
              <a:tabLst>
                <a:tab pos="184778" algn="l"/>
              </a:tabLst>
            </a:pPr>
            <a:r>
              <a:rPr sz="1101" dirty="0">
                <a:latin typeface="Arial"/>
                <a:cs typeface="Arial"/>
              </a:rPr>
              <a:t>Emergence</a:t>
            </a:r>
            <a:r>
              <a:rPr sz="1101" spc="-51" dirty="0">
                <a:latin typeface="Arial"/>
                <a:cs typeface="Arial"/>
              </a:rPr>
              <a:t> </a:t>
            </a:r>
            <a:r>
              <a:rPr sz="1101" dirty="0">
                <a:latin typeface="Arial"/>
                <a:cs typeface="Arial"/>
              </a:rPr>
              <a:t>et</a:t>
            </a:r>
            <a:r>
              <a:rPr sz="1101" spc="-30" dirty="0">
                <a:latin typeface="Arial"/>
                <a:cs typeface="Arial"/>
              </a:rPr>
              <a:t> </a:t>
            </a:r>
            <a:r>
              <a:rPr sz="1101" spc="-10" dirty="0">
                <a:latin typeface="Arial"/>
                <a:cs typeface="Arial"/>
              </a:rPr>
              <a:t>industrialisation 	</a:t>
            </a:r>
            <a:r>
              <a:rPr sz="1101" dirty="0">
                <a:latin typeface="Arial"/>
                <a:cs typeface="Arial"/>
              </a:rPr>
              <a:t>des</a:t>
            </a:r>
            <a:r>
              <a:rPr sz="1101" spc="-20" dirty="0">
                <a:latin typeface="Arial"/>
                <a:cs typeface="Arial"/>
              </a:rPr>
              <a:t> </a:t>
            </a:r>
            <a:r>
              <a:rPr sz="1101" spc="-10" dirty="0">
                <a:latin typeface="Arial"/>
                <a:cs typeface="Arial"/>
              </a:rPr>
              <a:t>Greentechs</a:t>
            </a:r>
            <a:endParaRPr sz="1101">
              <a:latin typeface="Arial"/>
              <a:cs typeface="Arial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679704" y="1621535"/>
            <a:ext cx="6042660" cy="266699"/>
          </a:xfrm>
          <a:custGeom>
            <a:avLst/>
            <a:gdLst/>
            <a:ahLst/>
            <a:cxnLst/>
            <a:rect l="l" t="t" r="r" b="b"/>
            <a:pathLst>
              <a:path w="6042660" h="266700">
                <a:moveTo>
                  <a:pt x="239268" y="133350"/>
                </a:moveTo>
                <a:lnTo>
                  <a:pt x="229857" y="81445"/>
                </a:lnTo>
                <a:lnTo>
                  <a:pt x="204228" y="39052"/>
                </a:lnTo>
                <a:lnTo>
                  <a:pt x="166192" y="10477"/>
                </a:lnTo>
                <a:lnTo>
                  <a:pt x="119634" y="0"/>
                </a:lnTo>
                <a:lnTo>
                  <a:pt x="73063" y="10490"/>
                </a:lnTo>
                <a:lnTo>
                  <a:pt x="35026" y="39065"/>
                </a:lnTo>
                <a:lnTo>
                  <a:pt x="9398" y="81445"/>
                </a:lnTo>
                <a:lnTo>
                  <a:pt x="0" y="133350"/>
                </a:lnTo>
                <a:lnTo>
                  <a:pt x="9398" y="185267"/>
                </a:lnTo>
                <a:lnTo>
                  <a:pt x="35026" y="227647"/>
                </a:lnTo>
                <a:lnTo>
                  <a:pt x="73063" y="256222"/>
                </a:lnTo>
                <a:lnTo>
                  <a:pt x="119634" y="266700"/>
                </a:lnTo>
                <a:lnTo>
                  <a:pt x="166192" y="256222"/>
                </a:lnTo>
                <a:lnTo>
                  <a:pt x="204228" y="227647"/>
                </a:lnTo>
                <a:lnTo>
                  <a:pt x="229857" y="185267"/>
                </a:lnTo>
                <a:lnTo>
                  <a:pt x="239268" y="133350"/>
                </a:lnTo>
                <a:close/>
              </a:path>
              <a:path w="6042660" h="266700">
                <a:moveTo>
                  <a:pt x="3401568" y="133350"/>
                </a:moveTo>
                <a:lnTo>
                  <a:pt x="3392157" y="81445"/>
                </a:lnTo>
                <a:lnTo>
                  <a:pt x="3366503" y="39052"/>
                </a:lnTo>
                <a:lnTo>
                  <a:pt x="3328479" y="10477"/>
                </a:lnTo>
                <a:lnTo>
                  <a:pt x="3281934" y="0"/>
                </a:lnTo>
                <a:lnTo>
                  <a:pt x="3235375" y="10490"/>
                </a:lnTo>
                <a:lnTo>
                  <a:pt x="3197352" y="39065"/>
                </a:lnTo>
                <a:lnTo>
                  <a:pt x="3171698" y="81445"/>
                </a:lnTo>
                <a:lnTo>
                  <a:pt x="3162300" y="133350"/>
                </a:lnTo>
                <a:lnTo>
                  <a:pt x="3171698" y="185267"/>
                </a:lnTo>
                <a:lnTo>
                  <a:pt x="3197352" y="227647"/>
                </a:lnTo>
                <a:lnTo>
                  <a:pt x="3235375" y="256222"/>
                </a:lnTo>
                <a:lnTo>
                  <a:pt x="3281934" y="266700"/>
                </a:lnTo>
                <a:lnTo>
                  <a:pt x="3328479" y="256222"/>
                </a:lnTo>
                <a:lnTo>
                  <a:pt x="3366503" y="227647"/>
                </a:lnTo>
                <a:lnTo>
                  <a:pt x="3392157" y="185267"/>
                </a:lnTo>
                <a:lnTo>
                  <a:pt x="3401568" y="133350"/>
                </a:lnTo>
                <a:close/>
              </a:path>
              <a:path w="6042660" h="266700">
                <a:moveTo>
                  <a:pt x="6042660" y="133350"/>
                </a:moveTo>
                <a:lnTo>
                  <a:pt x="6033249" y="81445"/>
                </a:lnTo>
                <a:lnTo>
                  <a:pt x="6007608" y="39052"/>
                </a:lnTo>
                <a:lnTo>
                  <a:pt x="5969571" y="10477"/>
                </a:lnTo>
                <a:lnTo>
                  <a:pt x="5923026" y="0"/>
                </a:lnTo>
                <a:lnTo>
                  <a:pt x="5876468" y="10490"/>
                </a:lnTo>
                <a:lnTo>
                  <a:pt x="5838444" y="39065"/>
                </a:lnTo>
                <a:lnTo>
                  <a:pt x="5812790" y="81445"/>
                </a:lnTo>
                <a:lnTo>
                  <a:pt x="5803392" y="133350"/>
                </a:lnTo>
                <a:lnTo>
                  <a:pt x="5812790" y="185267"/>
                </a:lnTo>
                <a:lnTo>
                  <a:pt x="5838444" y="227647"/>
                </a:lnTo>
                <a:lnTo>
                  <a:pt x="5876468" y="256222"/>
                </a:lnTo>
                <a:lnTo>
                  <a:pt x="5923026" y="266700"/>
                </a:lnTo>
                <a:lnTo>
                  <a:pt x="5969571" y="256222"/>
                </a:lnTo>
                <a:lnTo>
                  <a:pt x="6007608" y="227647"/>
                </a:lnTo>
                <a:lnTo>
                  <a:pt x="6033249" y="185267"/>
                </a:lnTo>
                <a:lnTo>
                  <a:pt x="6042660" y="133350"/>
                </a:lnTo>
                <a:close/>
              </a:path>
            </a:pathLst>
          </a:custGeom>
          <a:solidFill>
            <a:srgbClr val="92D0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 txBox="1"/>
          <p:nvPr/>
        </p:nvSpPr>
        <p:spPr>
          <a:xfrm>
            <a:off x="667206" y="1030936"/>
            <a:ext cx="8298180" cy="789383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91127" algn="ctr">
              <a:spcBef>
                <a:spcPts val="95"/>
              </a:spcBef>
            </a:pP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Banque</a:t>
            </a:r>
            <a:r>
              <a:rPr sz="1600" b="1" spc="-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du</a:t>
            </a:r>
            <a:r>
              <a:rPr sz="1600" b="1" spc="-2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Climat au</a:t>
            </a:r>
            <a:r>
              <a:rPr sz="1600" b="1" spc="-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spc="-10" dirty="0">
                <a:solidFill>
                  <a:srgbClr val="FFFFFF"/>
                </a:solidFill>
                <a:latin typeface="Arial"/>
                <a:cs typeface="Arial"/>
              </a:rPr>
              <a:t>service</a:t>
            </a:r>
            <a:endParaRPr sz="1600">
              <a:latin typeface="Arial"/>
              <a:cs typeface="Arial"/>
            </a:endParaRPr>
          </a:p>
          <a:p>
            <a:pPr marL="191761" algn="ctr">
              <a:spcBef>
                <a:spcPts val="4"/>
              </a:spcBef>
            </a:pP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de</a:t>
            </a:r>
            <a:r>
              <a:rPr sz="1600" b="1" spc="-2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la</a:t>
            </a:r>
            <a:r>
              <a:rPr sz="1600" b="1" spc="-14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transition</a:t>
            </a:r>
            <a:r>
              <a:rPr sz="1600" b="1" spc="-4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dirty="0">
                <a:solidFill>
                  <a:srgbClr val="FFFFFF"/>
                </a:solidFill>
                <a:latin typeface="Arial"/>
                <a:cs typeface="Arial"/>
              </a:rPr>
              <a:t>de</a:t>
            </a:r>
            <a:r>
              <a:rPr sz="1600" b="1" spc="-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b="1" spc="-10" dirty="0">
                <a:solidFill>
                  <a:srgbClr val="FFFFFF"/>
                </a:solidFill>
                <a:latin typeface="Arial"/>
                <a:cs typeface="Arial"/>
              </a:rPr>
              <a:t>l'économie</a:t>
            </a:r>
            <a:endParaRPr sz="1600">
              <a:latin typeface="Arial"/>
              <a:cs typeface="Arial"/>
            </a:endParaRPr>
          </a:p>
          <a:p>
            <a:pPr marL="12699" algn="ctr">
              <a:spcBef>
                <a:spcPts val="321"/>
              </a:spcBef>
              <a:tabLst>
                <a:tab pos="3174232" algn="l"/>
                <a:tab pos="5816356" algn="l"/>
              </a:tabLst>
            </a:pPr>
            <a:r>
              <a:rPr sz="2401" b="1" baseline="-15625" dirty="0">
                <a:solidFill>
                  <a:srgbClr val="FFFFFF"/>
                </a:solidFill>
                <a:latin typeface="Arial"/>
                <a:cs typeface="Arial"/>
              </a:rPr>
              <a:t>1</a:t>
            </a:r>
            <a:r>
              <a:rPr sz="2401" b="1" spc="247" baseline="-1562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00843C"/>
                </a:solidFill>
                <a:latin typeface="Arial"/>
                <a:cs typeface="Arial"/>
              </a:rPr>
              <a:t>Massifier</a:t>
            </a:r>
            <a:r>
              <a:rPr sz="1400" b="1" spc="-55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00843C"/>
                </a:solidFill>
                <a:latin typeface="Arial"/>
                <a:cs typeface="Arial"/>
              </a:rPr>
              <a:t>la</a:t>
            </a:r>
            <a:r>
              <a:rPr sz="1400" b="1" spc="-25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00843C"/>
                </a:solidFill>
                <a:latin typeface="Arial"/>
                <a:cs typeface="Arial"/>
              </a:rPr>
              <a:t>transition</a:t>
            </a:r>
            <a:r>
              <a:rPr sz="1400" b="1" spc="-61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400" b="1" spc="-25" dirty="0">
                <a:solidFill>
                  <a:srgbClr val="00843C"/>
                </a:solidFill>
                <a:latin typeface="Arial"/>
                <a:cs typeface="Arial"/>
              </a:rPr>
              <a:t>des</a:t>
            </a:r>
            <a:r>
              <a:rPr sz="1400" b="1" dirty="0">
                <a:solidFill>
                  <a:srgbClr val="00843C"/>
                </a:solidFill>
                <a:latin typeface="Arial"/>
                <a:cs typeface="Arial"/>
              </a:rPr>
              <a:t>	</a:t>
            </a:r>
            <a:r>
              <a:rPr sz="2401" b="1" baseline="-15625" dirty="0">
                <a:solidFill>
                  <a:srgbClr val="FFFFFF"/>
                </a:solidFill>
                <a:latin typeface="Arial"/>
                <a:cs typeface="Arial"/>
              </a:rPr>
              <a:t>2 </a:t>
            </a:r>
            <a:r>
              <a:rPr sz="1400" b="1" dirty="0">
                <a:solidFill>
                  <a:srgbClr val="00843C"/>
                </a:solidFill>
                <a:latin typeface="Arial"/>
                <a:cs typeface="Arial"/>
              </a:rPr>
              <a:t>Assurer</a:t>
            </a:r>
            <a:r>
              <a:rPr sz="1400" b="1" spc="-4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00843C"/>
                </a:solidFill>
                <a:latin typeface="Arial"/>
                <a:cs typeface="Arial"/>
              </a:rPr>
              <a:t>la</a:t>
            </a:r>
            <a:r>
              <a:rPr sz="1400" b="1" spc="-45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00843C"/>
                </a:solidFill>
                <a:latin typeface="Arial"/>
                <a:cs typeface="Arial"/>
              </a:rPr>
              <a:t>croissance</a:t>
            </a:r>
            <a:r>
              <a:rPr sz="1400" b="1" spc="-65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400" b="1" spc="-25" dirty="0">
                <a:solidFill>
                  <a:srgbClr val="00843C"/>
                </a:solidFill>
                <a:latin typeface="Arial"/>
                <a:cs typeface="Arial"/>
              </a:rPr>
              <a:t>des</a:t>
            </a:r>
            <a:r>
              <a:rPr sz="1400" b="1" dirty="0">
                <a:solidFill>
                  <a:srgbClr val="00843C"/>
                </a:solidFill>
                <a:latin typeface="Arial"/>
                <a:cs typeface="Arial"/>
              </a:rPr>
              <a:t>	</a:t>
            </a:r>
            <a:r>
              <a:rPr sz="2401" b="1" baseline="-15625" dirty="0">
                <a:solidFill>
                  <a:srgbClr val="FFFFFF"/>
                </a:solidFill>
                <a:latin typeface="Arial"/>
                <a:cs typeface="Arial"/>
              </a:rPr>
              <a:t>3</a:t>
            </a:r>
            <a:r>
              <a:rPr sz="2401" b="1" spc="134" baseline="-1562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00843C"/>
                </a:solidFill>
                <a:latin typeface="Arial"/>
                <a:cs typeface="Arial"/>
              </a:rPr>
              <a:t>Soutenir</a:t>
            </a:r>
            <a:r>
              <a:rPr sz="1400" b="1" spc="-45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00843C"/>
                </a:solidFill>
                <a:latin typeface="Arial"/>
                <a:cs typeface="Arial"/>
              </a:rPr>
              <a:t>la</a:t>
            </a:r>
            <a:r>
              <a:rPr sz="1400" b="1" spc="-30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00843C"/>
                </a:solidFill>
                <a:latin typeface="Arial"/>
                <a:cs typeface="Arial"/>
              </a:rPr>
              <a:t>diversification</a:t>
            </a:r>
            <a:endParaRPr sz="1400">
              <a:latin typeface="Arial"/>
              <a:cs typeface="Arial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667513" y="5422393"/>
            <a:ext cx="239395" cy="266699"/>
          </a:xfrm>
          <a:custGeom>
            <a:avLst/>
            <a:gdLst/>
            <a:ahLst/>
            <a:cxnLst/>
            <a:rect l="l" t="t" r="r" b="b"/>
            <a:pathLst>
              <a:path w="239395" h="266700">
                <a:moveTo>
                  <a:pt x="119634" y="0"/>
                </a:moveTo>
                <a:lnTo>
                  <a:pt x="73064" y="10479"/>
                </a:lnTo>
                <a:lnTo>
                  <a:pt x="35037" y="39057"/>
                </a:lnTo>
                <a:lnTo>
                  <a:pt x="9400" y="81444"/>
                </a:lnTo>
                <a:lnTo>
                  <a:pt x="0" y="133349"/>
                </a:lnTo>
                <a:lnTo>
                  <a:pt x="9400" y="185255"/>
                </a:lnTo>
                <a:lnTo>
                  <a:pt x="35037" y="227642"/>
                </a:lnTo>
                <a:lnTo>
                  <a:pt x="73064" y="256220"/>
                </a:lnTo>
                <a:lnTo>
                  <a:pt x="119634" y="266699"/>
                </a:lnTo>
                <a:lnTo>
                  <a:pt x="166203" y="256220"/>
                </a:lnTo>
                <a:lnTo>
                  <a:pt x="204230" y="227642"/>
                </a:lnTo>
                <a:lnTo>
                  <a:pt x="229867" y="185255"/>
                </a:lnTo>
                <a:lnTo>
                  <a:pt x="239268" y="133349"/>
                </a:lnTo>
                <a:lnTo>
                  <a:pt x="229867" y="81444"/>
                </a:lnTo>
                <a:lnTo>
                  <a:pt x="204230" y="39057"/>
                </a:lnTo>
                <a:lnTo>
                  <a:pt x="166203" y="10479"/>
                </a:lnTo>
                <a:lnTo>
                  <a:pt x="119634" y="0"/>
                </a:lnTo>
                <a:close/>
              </a:path>
            </a:pathLst>
          </a:custGeom>
          <a:solidFill>
            <a:srgbClr val="92D0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 txBox="1"/>
          <p:nvPr/>
        </p:nvSpPr>
        <p:spPr>
          <a:xfrm>
            <a:off x="712419" y="5417617"/>
            <a:ext cx="149860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699">
              <a:spcBef>
                <a:spcPts val="95"/>
              </a:spcBef>
            </a:pPr>
            <a:r>
              <a:rPr sz="1600" b="1" spc="-51" dirty="0">
                <a:solidFill>
                  <a:srgbClr val="FFFFFF"/>
                </a:solidFill>
                <a:latin typeface="Arial"/>
                <a:cs typeface="Arial"/>
              </a:rPr>
              <a:t>F</a:t>
            </a:r>
            <a:endParaRPr sz="1600">
              <a:latin typeface="Arial"/>
              <a:cs typeface="Arial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667513" y="3997451"/>
            <a:ext cx="239395" cy="266699"/>
          </a:xfrm>
          <a:custGeom>
            <a:avLst/>
            <a:gdLst/>
            <a:ahLst/>
            <a:cxnLst/>
            <a:rect l="l" t="t" r="r" b="b"/>
            <a:pathLst>
              <a:path w="239395" h="266700">
                <a:moveTo>
                  <a:pt x="119634" y="0"/>
                </a:moveTo>
                <a:lnTo>
                  <a:pt x="73064" y="10477"/>
                </a:lnTo>
                <a:lnTo>
                  <a:pt x="35037" y="39052"/>
                </a:lnTo>
                <a:lnTo>
                  <a:pt x="9400" y="81438"/>
                </a:lnTo>
                <a:lnTo>
                  <a:pt x="0" y="133350"/>
                </a:lnTo>
                <a:lnTo>
                  <a:pt x="9400" y="185261"/>
                </a:lnTo>
                <a:lnTo>
                  <a:pt x="35037" y="227647"/>
                </a:lnTo>
                <a:lnTo>
                  <a:pt x="73064" y="256222"/>
                </a:lnTo>
                <a:lnTo>
                  <a:pt x="119634" y="266700"/>
                </a:lnTo>
                <a:lnTo>
                  <a:pt x="166203" y="256222"/>
                </a:lnTo>
                <a:lnTo>
                  <a:pt x="204230" y="227647"/>
                </a:lnTo>
                <a:lnTo>
                  <a:pt x="229867" y="185261"/>
                </a:lnTo>
                <a:lnTo>
                  <a:pt x="239268" y="133350"/>
                </a:lnTo>
                <a:lnTo>
                  <a:pt x="229867" y="81438"/>
                </a:lnTo>
                <a:lnTo>
                  <a:pt x="204230" y="39052"/>
                </a:lnTo>
                <a:lnTo>
                  <a:pt x="166203" y="10477"/>
                </a:lnTo>
                <a:lnTo>
                  <a:pt x="119634" y="0"/>
                </a:lnTo>
                <a:close/>
              </a:path>
            </a:pathLst>
          </a:custGeom>
          <a:solidFill>
            <a:srgbClr val="92D0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 txBox="1"/>
          <p:nvPr/>
        </p:nvSpPr>
        <p:spPr>
          <a:xfrm>
            <a:off x="701142" y="3993262"/>
            <a:ext cx="172085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699">
              <a:spcBef>
                <a:spcPts val="95"/>
              </a:spcBef>
            </a:pPr>
            <a:r>
              <a:rPr sz="1600" b="1" spc="-51" dirty="0">
                <a:solidFill>
                  <a:srgbClr val="FFFFFF"/>
                </a:solidFill>
                <a:latin typeface="Arial"/>
                <a:cs typeface="Arial"/>
              </a:rPr>
              <a:t>B</a:t>
            </a:r>
            <a:endParaRPr sz="1600">
              <a:latin typeface="Arial"/>
              <a:cs typeface="Arial"/>
            </a:endParaRPr>
          </a:p>
        </p:txBody>
      </p:sp>
      <p:sp>
        <p:nvSpPr>
          <p:cNvPr id="31" name="object 31"/>
          <p:cNvSpPr/>
          <p:nvPr/>
        </p:nvSpPr>
        <p:spPr>
          <a:xfrm>
            <a:off x="667513" y="3563111"/>
            <a:ext cx="239395" cy="266699"/>
          </a:xfrm>
          <a:custGeom>
            <a:avLst/>
            <a:gdLst/>
            <a:ahLst/>
            <a:cxnLst/>
            <a:rect l="l" t="t" r="r" b="b"/>
            <a:pathLst>
              <a:path w="239395" h="266700">
                <a:moveTo>
                  <a:pt x="119634" y="0"/>
                </a:moveTo>
                <a:lnTo>
                  <a:pt x="73064" y="10477"/>
                </a:lnTo>
                <a:lnTo>
                  <a:pt x="35037" y="39052"/>
                </a:lnTo>
                <a:lnTo>
                  <a:pt x="9400" y="81438"/>
                </a:lnTo>
                <a:lnTo>
                  <a:pt x="0" y="133349"/>
                </a:lnTo>
                <a:lnTo>
                  <a:pt x="9400" y="185261"/>
                </a:lnTo>
                <a:lnTo>
                  <a:pt x="35037" y="227647"/>
                </a:lnTo>
                <a:lnTo>
                  <a:pt x="73064" y="256222"/>
                </a:lnTo>
                <a:lnTo>
                  <a:pt x="119634" y="266699"/>
                </a:lnTo>
                <a:lnTo>
                  <a:pt x="166203" y="256222"/>
                </a:lnTo>
                <a:lnTo>
                  <a:pt x="204230" y="227647"/>
                </a:lnTo>
                <a:lnTo>
                  <a:pt x="229867" y="185261"/>
                </a:lnTo>
                <a:lnTo>
                  <a:pt x="239268" y="133349"/>
                </a:lnTo>
                <a:lnTo>
                  <a:pt x="229867" y="81438"/>
                </a:lnTo>
                <a:lnTo>
                  <a:pt x="204230" y="39052"/>
                </a:lnTo>
                <a:lnTo>
                  <a:pt x="166203" y="10477"/>
                </a:lnTo>
                <a:lnTo>
                  <a:pt x="119634" y="0"/>
                </a:lnTo>
                <a:close/>
              </a:path>
            </a:pathLst>
          </a:custGeom>
          <a:solidFill>
            <a:srgbClr val="92D0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 txBox="1"/>
          <p:nvPr/>
        </p:nvSpPr>
        <p:spPr>
          <a:xfrm>
            <a:off x="701142" y="3558922"/>
            <a:ext cx="172085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699">
              <a:spcBef>
                <a:spcPts val="95"/>
              </a:spcBef>
            </a:pPr>
            <a:r>
              <a:rPr sz="1600" b="1" spc="-51" dirty="0">
                <a:solidFill>
                  <a:srgbClr val="FFFFFF"/>
                </a:solidFill>
                <a:latin typeface="Arial"/>
                <a:cs typeface="Arial"/>
              </a:rPr>
              <a:t>A</a:t>
            </a:r>
            <a:endParaRPr sz="1600">
              <a:latin typeface="Arial"/>
              <a:cs typeface="Arial"/>
            </a:endParaRPr>
          </a:p>
        </p:txBody>
      </p:sp>
      <p:sp>
        <p:nvSpPr>
          <p:cNvPr id="33" name="object 33"/>
          <p:cNvSpPr/>
          <p:nvPr/>
        </p:nvSpPr>
        <p:spPr>
          <a:xfrm>
            <a:off x="667513" y="4381500"/>
            <a:ext cx="239395" cy="266699"/>
          </a:xfrm>
          <a:custGeom>
            <a:avLst/>
            <a:gdLst/>
            <a:ahLst/>
            <a:cxnLst/>
            <a:rect l="l" t="t" r="r" b="b"/>
            <a:pathLst>
              <a:path w="239395" h="266700">
                <a:moveTo>
                  <a:pt x="119634" y="0"/>
                </a:moveTo>
                <a:lnTo>
                  <a:pt x="73064" y="10477"/>
                </a:lnTo>
                <a:lnTo>
                  <a:pt x="35037" y="39052"/>
                </a:lnTo>
                <a:lnTo>
                  <a:pt x="9400" y="81438"/>
                </a:lnTo>
                <a:lnTo>
                  <a:pt x="0" y="133350"/>
                </a:lnTo>
                <a:lnTo>
                  <a:pt x="9400" y="185261"/>
                </a:lnTo>
                <a:lnTo>
                  <a:pt x="35037" y="227647"/>
                </a:lnTo>
                <a:lnTo>
                  <a:pt x="73064" y="256222"/>
                </a:lnTo>
                <a:lnTo>
                  <a:pt x="119634" y="266700"/>
                </a:lnTo>
                <a:lnTo>
                  <a:pt x="166203" y="256222"/>
                </a:lnTo>
                <a:lnTo>
                  <a:pt x="204230" y="227647"/>
                </a:lnTo>
                <a:lnTo>
                  <a:pt x="229867" y="185261"/>
                </a:lnTo>
                <a:lnTo>
                  <a:pt x="239268" y="133350"/>
                </a:lnTo>
                <a:lnTo>
                  <a:pt x="229867" y="81438"/>
                </a:lnTo>
                <a:lnTo>
                  <a:pt x="204230" y="39052"/>
                </a:lnTo>
                <a:lnTo>
                  <a:pt x="166203" y="10477"/>
                </a:lnTo>
                <a:lnTo>
                  <a:pt x="119634" y="0"/>
                </a:lnTo>
                <a:close/>
              </a:path>
            </a:pathLst>
          </a:custGeom>
          <a:solidFill>
            <a:srgbClr val="92D0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 txBox="1"/>
          <p:nvPr/>
        </p:nvSpPr>
        <p:spPr>
          <a:xfrm>
            <a:off x="701142" y="4376674"/>
            <a:ext cx="172085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699">
              <a:spcBef>
                <a:spcPts val="95"/>
              </a:spcBef>
            </a:pPr>
            <a:r>
              <a:rPr sz="1600" b="1" spc="-51" dirty="0">
                <a:solidFill>
                  <a:srgbClr val="FFFFFF"/>
                </a:solidFill>
                <a:latin typeface="Arial"/>
                <a:cs typeface="Arial"/>
              </a:rPr>
              <a:t>C</a:t>
            </a:r>
            <a:endParaRPr sz="1600">
              <a:latin typeface="Arial"/>
              <a:cs typeface="Arial"/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667513" y="4715255"/>
            <a:ext cx="239395" cy="266699"/>
          </a:xfrm>
          <a:custGeom>
            <a:avLst/>
            <a:gdLst/>
            <a:ahLst/>
            <a:cxnLst/>
            <a:rect l="l" t="t" r="r" b="b"/>
            <a:pathLst>
              <a:path w="239395" h="266700">
                <a:moveTo>
                  <a:pt x="119634" y="0"/>
                </a:moveTo>
                <a:lnTo>
                  <a:pt x="73064" y="10477"/>
                </a:lnTo>
                <a:lnTo>
                  <a:pt x="35037" y="39052"/>
                </a:lnTo>
                <a:lnTo>
                  <a:pt x="9400" y="81438"/>
                </a:lnTo>
                <a:lnTo>
                  <a:pt x="0" y="133350"/>
                </a:lnTo>
                <a:lnTo>
                  <a:pt x="9400" y="185261"/>
                </a:lnTo>
                <a:lnTo>
                  <a:pt x="35037" y="227647"/>
                </a:lnTo>
                <a:lnTo>
                  <a:pt x="73064" y="256222"/>
                </a:lnTo>
                <a:lnTo>
                  <a:pt x="119634" y="266699"/>
                </a:lnTo>
                <a:lnTo>
                  <a:pt x="166203" y="256222"/>
                </a:lnTo>
                <a:lnTo>
                  <a:pt x="204230" y="227647"/>
                </a:lnTo>
                <a:lnTo>
                  <a:pt x="229867" y="185261"/>
                </a:lnTo>
                <a:lnTo>
                  <a:pt x="239268" y="133350"/>
                </a:lnTo>
                <a:lnTo>
                  <a:pt x="229867" y="81438"/>
                </a:lnTo>
                <a:lnTo>
                  <a:pt x="204230" y="39052"/>
                </a:lnTo>
                <a:lnTo>
                  <a:pt x="166203" y="10477"/>
                </a:lnTo>
                <a:lnTo>
                  <a:pt x="119634" y="0"/>
                </a:lnTo>
                <a:close/>
              </a:path>
            </a:pathLst>
          </a:custGeom>
          <a:solidFill>
            <a:srgbClr val="92D0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 txBox="1"/>
          <p:nvPr/>
        </p:nvSpPr>
        <p:spPr>
          <a:xfrm>
            <a:off x="701142" y="4709617"/>
            <a:ext cx="172085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699">
              <a:spcBef>
                <a:spcPts val="95"/>
              </a:spcBef>
            </a:pPr>
            <a:r>
              <a:rPr sz="1600" b="1" spc="-51" dirty="0">
                <a:solidFill>
                  <a:srgbClr val="FFFFFF"/>
                </a:solidFill>
                <a:latin typeface="Arial"/>
                <a:cs typeface="Arial"/>
              </a:rPr>
              <a:t>D</a:t>
            </a:r>
            <a:endParaRPr sz="1600">
              <a:latin typeface="Arial"/>
              <a:cs typeface="Arial"/>
            </a:endParaRPr>
          </a:p>
        </p:txBody>
      </p:sp>
      <p:sp>
        <p:nvSpPr>
          <p:cNvPr id="37" name="object 37"/>
          <p:cNvSpPr/>
          <p:nvPr/>
        </p:nvSpPr>
        <p:spPr>
          <a:xfrm>
            <a:off x="667513" y="5053584"/>
            <a:ext cx="239395" cy="266699"/>
          </a:xfrm>
          <a:custGeom>
            <a:avLst/>
            <a:gdLst/>
            <a:ahLst/>
            <a:cxnLst/>
            <a:rect l="l" t="t" r="r" b="b"/>
            <a:pathLst>
              <a:path w="239395" h="266700">
                <a:moveTo>
                  <a:pt x="119634" y="0"/>
                </a:moveTo>
                <a:lnTo>
                  <a:pt x="73064" y="10477"/>
                </a:lnTo>
                <a:lnTo>
                  <a:pt x="35037" y="39052"/>
                </a:lnTo>
                <a:lnTo>
                  <a:pt x="9400" y="81438"/>
                </a:lnTo>
                <a:lnTo>
                  <a:pt x="0" y="133350"/>
                </a:lnTo>
                <a:lnTo>
                  <a:pt x="9400" y="185255"/>
                </a:lnTo>
                <a:lnTo>
                  <a:pt x="35037" y="227642"/>
                </a:lnTo>
                <a:lnTo>
                  <a:pt x="73064" y="256220"/>
                </a:lnTo>
                <a:lnTo>
                  <a:pt x="119634" y="266700"/>
                </a:lnTo>
                <a:lnTo>
                  <a:pt x="166203" y="256220"/>
                </a:lnTo>
                <a:lnTo>
                  <a:pt x="204230" y="227642"/>
                </a:lnTo>
                <a:lnTo>
                  <a:pt x="229867" y="185255"/>
                </a:lnTo>
                <a:lnTo>
                  <a:pt x="239268" y="133350"/>
                </a:lnTo>
                <a:lnTo>
                  <a:pt x="229867" y="81438"/>
                </a:lnTo>
                <a:lnTo>
                  <a:pt x="204230" y="39052"/>
                </a:lnTo>
                <a:lnTo>
                  <a:pt x="166203" y="10477"/>
                </a:lnTo>
                <a:lnTo>
                  <a:pt x="119634" y="0"/>
                </a:lnTo>
                <a:close/>
              </a:path>
            </a:pathLst>
          </a:custGeom>
          <a:solidFill>
            <a:srgbClr val="92D0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 txBox="1"/>
          <p:nvPr/>
        </p:nvSpPr>
        <p:spPr>
          <a:xfrm>
            <a:off x="706629" y="5048504"/>
            <a:ext cx="160655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699">
              <a:spcBef>
                <a:spcPts val="95"/>
              </a:spcBef>
            </a:pPr>
            <a:r>
              <a:rPr sz="1600" b="1" spc="-51" dirty="0">
                <a:solidFill>
                  <a:srgbClr val="FFFFFF"/>
                </a:solidFill>
                <a:latin typeface="Arial"/>
                <a:cs typeface="Arial"/>
              </a:rPr>
              <a:t>E</a:t>
            </a:r>
            <a:endParaRPr sz="1600">
              <a:latin typeface="Arial"/>
              <a:cs typeface="Arial"/>
            </a:endParaRPr>
          </a:p>
        </p:txBody>
      </p:sp>
      <p:sp>
        <p:nvSpPr>
          <p:cNvPr id="40" name="object 40"/>
          <p:cNvSpPr/>
          <p:nvPr/>
        </p:nvSpPr>
        <p:spPr>
          <a:xfrm>
            <a:off x="805436" y="5862066"/>
            <a:ext cx="8341359" cy="251460"/>
          </a:xfrm>
          <a:custGeom>
            <a:avLst/>
            <a:gdLst/>
            <a:ahLst/>
            <a:cxnLst/>
            <a:rect l="l" t="t" r="r" b="b"/>
            <a:pathLst>
              <a:path w="8341359" h="251460">
                <a:moveTo>
                  <a:pt x="0" y="251459"/>
                </a:moveTo>
                <a:lnTo>
                  <a:pt x="8340852" y="251459"/>
                </a:lnTo>
                <a:lnTo>
                  <a:pt x="8340852" y="0"/>
                </a:lnTo>
                <a:lnTo>
                  <a:pt x="0" y="0"/>
                </a:lnTo>
                <a:lnTo>
                  <a:pt x="0" y="251459"/>
                </a:lnTo>
                <a:close/>
              </a:path>
            </a:pathLst>
          </a:custGeom>
          <a:ln w="19050">
            <a:solidFill>
              <a:srgbClr val="00843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 txBox="1"/>
          <p:nvPr/>
        </p:nvSpPr>
        <p:spPr>
          <a:xfrm>
            <a:off x="1754252" y="5891580"/>
            <a:ext cx="643699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699">
              <a:spcBef>
                <a:spcPts val="100"/>
              </a:spcBef>
            </a:pP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Mettre</a:t>
            </a:r>
            <a:r>
              <a:rPr sz="1200" b="1" spc="-35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en</a:t>
            </a:r>
            <a:r>
              <a:rPr sz="1200" b="1" spc="-25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accord</a:t>
            </a:r>
            <a:r>
              <a:rPr sz="1200" b="1" spc="-51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nos</a:t>
            </a:r>
            <a:r>
              <a:rPr sz="1200" b="1" spc="-25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pratiques</a:t>
            </a:r>
            <a:r>
              <a:rPr sz="1200" b="1" spc="-30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internes</a:t>
            </a:r>
            <a:r>
              <a:rPr sz="1200" b="1" spc="-35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avec</a:t>
            </a:r>
            <a:r>
              <a:rPr sz="1200" b="1" spc="-35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notre</a:t>
            </a:r>
            <a:r>
              <a:rPr sz="1200" b="1" spc="-25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spc="-10" dirty="0">
                <a:solidFill>
                  <a:srgbClr val="00843C"/>
                </a:solidFill>
                <a:latin typeface="Arial"/>
                <a:cs typeface="Arial"/>
              </a:rPr>
              <a:t>positionnement</a:t>
            </a:r>
            <a:r>
              <a:rPr sz="1200" b="1" spc="-20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de</a:t>
            </a:r>
            <a:r>
              <a:rPr sz="1200" b="1" spc="-30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Banque</a:t>
            </a:r>
            <a:r>
              <a:rPr sz="1200" b="1" spc="-25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843C"/>
                </a:solidFill>
                <a:latin typeface="Arial"/>
                <a:cs typeface="Arial"/>
              </a:rPr>
              <a:t>du</a:t>
            </a:r>
            <a:r>
              <a:rPr sz="1200" b="1" spc="-14" dirty="0">
                <a:solidFill>
                  <a:srgbClr val="00843C"/>
                </a:solidFill>
                <a:latin typeface="Arial"/>
                <a:cs typeface="Arial"/>
              </a:rPr>
              <a:t> </a:t>
            </a:r>
            <a:r>
              <a:rPr sz="1200" b="1" spc="-10" dirty="0">
                <a:solidFill>
                  <a:srgbClr val="00843C"/>
                </a:solidFill>
                <a:latin typeface="Arial"/>
                <a:cs typeface="Arial"/>
              </a:rPr>
              <a:t>climat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42" name="object 42"/>
          <p:cNvSpPr/>
          <p:nvPr/>
        </p:nvSpPr>
        <p:spPr>
          <a:xfrm>
            <a:off x="667513" y="5864351"/>
            <a:ext cx="239395" cy="266699"/>
          </a:xfrm>
          <a:custGeom>
            <a:avLst/>
            <a:gdLst/>
            <a:ahLst/>
            <a:cxnLst/>
            <a:rect l="l" t="t" r="r" b="b"/>
            <a:pathLst>
              <a:path w="239395" h="266700">
                <a:moveTo>
                  <a:pt x="119634" y="0"/>
                </a:moveTo>
                <a:lnTo>
                  <a:pt x="73064" y="10479"/>
                </a:lnTo>
                <a:lnTo>
                  <a:pt x="35037" y="39057"/>
                </a:lnTo>
                <a:lnTo>
                  <a:pt x="9400" y="81444"/>
                </a:lnTo>
                <a:lnTo>
                  <a:pt x="0" y="133350"/>
                </a:lnTo>
                <a:lnTo>
                  <a:pt x="9400" y="185255"/>
                </a:lnTo>
                <a:lnTo>
                  <a:pt x="35037" y="227642"/>
                </a:lnTo>
                <a:lnTo>
                  <a:pt x="73064" y="256220"/>
                </a:lnTo>
                <a:lnTo>
                  <a:pt x="119634" y="266700"/>
                </a:lnTo>
                <a:lnTo>
                  <a:pt x="166203" y="256220"/>
                </a:lnTo>
                <a:lnTo>
                  <a:pt x="204230" y="227642"/>
                </a:lnTo>
                <a:lnTo>
                  <a:pt x="229867" y="185255"/>
                </a:lnTo>
                <a:lnTo>
                  <a:pt x="239268" y="133350"/>
                </a:lnTo>
                <a:lnTo>
                  <a:pt x="229867" y="81444"/>
                </a:lnTo>
                <a:lnTo>
                  <a:pt x="204230" y="39057"/>
                </a:lnTo>
                <a:lnTo>
                  <a:pt x="166203" y="10479"/>
                </a:lnTo>
                <a:lnTo>
                  <a:pt x="119634" y="0"/>
                </a:lnTo>
                <a:close/>
              </a:path>
            </a:pathLst>
          </a:custGeom>
          <a:solidFill>
            <a:srgbClr val="92D0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 txBox="1"/>
          <p:nvPr/>
        </p:nvSpPr>
        <p:spPr>
          <a:xfrm>
            <a:off x="694743" y="5859577"/>
            <a:ext cx="183515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699">
              <a:spcBef>
                <a:spcPts val="95"/>
              </a:spcBef>
            </a:pPr>
            <a:r>
              <a:rPr sz="1600" b="1" spc="-51" dirty="0">
                <a:solidFill>
                  <a:srgbClr val="FFFFFF"/>
                </a:solidFill>
                <a:latin typeface="Arial"/>
                <a:cs typeface="Arial"/>
              </a:rPr>
              <a:t>G</a:t>
            </a:r>
            <a:endParaRPr sz="1600">
              <a:latin typeface="Arial"/>
              <a:cs typeface="Arial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274334" y="6386004"/>
            <a:ext cx="8341359" cy="18222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699">
              <a:spcBef>
                <a:spcPts val="100"/>
              </a:spcBef>
            </a:pPr>
            <a:r>
              <a:rPr sz="1101" i="1" dirty="0">
                <a:latin typeface="Arial"/>
                <a:cs typeface="Arial"/>
              </a:rPr>
              <a:t>NB</a:t>
            </a:r>
            <a:r>
              <a:rPr sz="1101" i="1" spc="-30" dirty="0">
                <a:latin typeface="Arial"/>
                <a:cs typeface="Arial"/>
              </a:rPr>
              <a:t> </a:t>
            </a:r>
            <a:r>
              <a:rPr sz="1101" i="1" dirty="0">
                <a:latin typeface="Arial"/>
                <a:cs typeface="Arial"/>
              </a:rPr>
              <a:t>:</a:t>
            </a:r>
            <a:r>
              <a:rPr sz="1101" i="1" spc="-20" dirty="0">
                <a:latin typeface="Arial"/>
                <a:cs typeface="Arial"/>
              </a:rPr>
              <a:t> </a:t>
            </a:r>
            <a:r>
              <a:rPr sz="1101" i="1" dirty="0">
                <a:latin typeface="Arial"/>
                <a:cs typeface="Arial"/>
              </a:rPr>
              <a:t>Des</a:t>
            </a:r>
            <a:r>
              <a:rPr sz="1101" i="1" spc="-30" dirty="0">
                <a:latin typeface="Arial"/>
                <a:cs typeface="Arial"/>
              </a:rPr>
              <a:t> </a:t>
            </a:r>
            <a:r>
              <a:rPr sz="1101" i="1" dirty="0">
                <a:latin typeface="Arial"/>
                <a:cs typeface="Arial"/>
              </a:rPr>
              <a:t>réflexions</a:t>
            </a:r>
            <a:r>
              <a:rPr sz="1101" i="1" spc="-14" dirty="0">
                <a:latin typeface="Arial"/>
                <a:cs typeface="Arial"/>
              </a:rPr>
              <a:t> </a:t>
            </a:r>
            <a:r>
              <a:rPr sz="1101" i="1" dirty="0">
                <a:latin typeface="Arial"/>
                <a:cs typeface="Arial"/>
              </a:rPr>
              <a:t>sont</a:t>
            </a:r>
            <a:r>
              <a:rPr sz="1101" i="1" spc="-30" dirty="0">
                <a:latin typeface="Arial"/>
                <a:cs typeface="Arial"/>
              </a:rPr>
              <a:t> </a:t>
            </a:r>
            <a:r>
              <a:rPr sz="1101" i="1" dirty="0">
                <a:latin typeface="Arial"/>
                <a:cs typeface="Arial"/>
              </a:rPr>
              <a:t>en</a:t>
            </a:r>
            <a:r>
              <a:rPr sz="1101" i="1" spc="-14" dirty="0">
                <a:latin typeface="Arial"/>
                <a:cs typeface="Arial"/>
              </a:rPr>
              <a:t> </a:t>
            </a:r>
            <a:r>
              <a:rPr sz="1101" i="1" dirty="0">
                <a:latin typeface="Arial"/>
                <a:cs typeface="Arial"/>
              </a:rPr>
              <a:t>cours</a:t>
            </a:r>
            <a:r>
              <a:rPr sz="1101" i="1" spc="-14" dirty="0">
                <a:latin typeface="Arial"/>
                <a:cs typeface="Arial"/>
              </a:rPr>
              <a:t> </a:t>
            </a:r>
            <a:r>
              <a:rPr sz="1101" i="1" dirty="0">
                <a:latin typeface="Arial"/>
                <a:cs typeface="Arial"/>
              </a:rPr>
              <a:t>pour</a:t>
            </a:r>
            <a:r>
              <a:rPr sz="1101" i="1" spc="-14" dirty="0">
                <a:latin typeface="Arial"/>
                <a:cs typeface="Arial"/>
              </a:rPr>
              <a:t> </a:t>
            </a:r>
            <a:r>
              <a:rPr sz="1101" i="1" dirty="0">
                <a:latin typeface="Arial"/>
                <a:cs typeface="Arial"/>
              </a:rPr>
              <a:t>pouvoir</a:t>
            </a:r>
            <a:r>
              <a:rPr sz="1101" i="1" spc="-25" dirty="0">
                <a:latin typeface="Arial"/>
                <a:cs typeface="Arial"/>
              </a:rPr>
              <a:t> </a:t>
            </a:r>
            <a:r>
              <a:rPr sz="1101" i="1" dirty="0">
                <a:latin typeface="Arial"/>
                <a:cs typeface="Arial"/>
              </a:rPr>
              <a:t>mesurer</a:t>
            </a:r>
            <a:r>
              <a:rPr sz="1101" i="1" spc="-14" dirty="0">
                <a:latin typeface="Arial"/>
                <a:cs typeface="Arial"/>
              </a:rPr>
              <a:t> </a:t>
            </a:r>
            <a:r>
              <a:rPr sz="1101" i="1" dirty="0">
                <a:latin typeface="Arial"/>
                <a:cs typeface="Arial"/>
              </a:rPr>
              <a:t>l’impact</a:t>
            </a:r>
            <a:r>
              <a:rPr sz="1101" i="1" spc="-10" dirty="0">
                <a:latin typeface="Arial"/>
                <a:cs typeface="Arial"/>
              </a:rPr>
              <a:t> </a:t>
            </a:r>
            <a:r>
              <a:rPr sz="1101" i="1" dirty="0">
                <a:latin typeface="Arial"/>
                <a:cs typeface="Arial"/>
              </a:rPr>
              <a:t>dans</a:t>
            </a:r>
            <a:r>
              <a:rPr sz="1101" i="1" spc="-14" dirty="0">
                <a:latin typeface="Arial"/>
                <a:cs typeface="Arial"/>
              </a:rPr>
              <a:t> </a:t>
            </a:r>
            <a:r>
              <a:rPr sz="1101" i="1" dirty="0">
                <a:latin typeface="Arial"/>
                <a:cs typeface="Arial"/>
              </a:rPr>
              <a:t>la</a:t>
            </a:r>
            <a:r>
              <a:rPr sz="1101" i="1" spc="-25" dirty="0">
                <a:latin typeface="Arial"/>
                <a:cs typeface="Arial"/>
              </a:rPr>
              <a:t> </a:t>
            </a:r>
            <a:r>
              <a:rPr sz="1101" i="1" dirty="0">
                <a:latin typeface="Arial"/>
                <a:cs typeface="Arial"/>
              </a:rPr>
              <a:t>durée mais</a:t>
            </a:r>
            <a:r>
              <a:rPr sz="1101" i="1" spc="-25" dirty="0">
                <a:latin typeface="Arial"/>
                <a:cs typeface="Arial"/>
              </a:rPr>
              <a:t> </a:t>
            </a:r>
            <a:r>
              <a:rPr sz="1101" i="1" dirty="0">
                <a:latin typeface="Arial"/>
                <a:cs typeface="Arial"/>
              </a:rPr>
              <a:t>les</a:t>
            </a:r>
            <a:r>
              <a:rPr sz="1101" i="1" spc="-30" dirty="0">
                <a:latin typeface="Arial"/>
                <a:cs typeface="Arial"/>
              </a:rPr>
              <a:t> </a:t>
            </a:r>
            <a:r>
              <a:rPr sz="1101" i="1" dirty="0">
                <a:latin typeface="Arial"/>
                <a:cs typeface="Arial"/>
              </a:rPr>
              <a:t>méthodologies</a:t>
            </a:r>
            <a:r>
              <a:rPr sz="1101" i="1" spc="4" dirty="0">
                <a:latin typeface="Arial"/>
                <a:cs typeface="Arial"/>
              </a:rPr>
              <a:t> </a:t>
            </a:r>
            <a:r>
              <a:rPr sz="1101" i="1" dirty="0">
                <a:latin typeface="Arial"/>
                <a:cs typeface="Arial"/>
              </a:rPr>
              <a:t>doivent</a:t>
            </a:r>
            <a:r>
              <a:rPr sz="1101" i="1" spc="-10" dirty="0">
                <a:latin typeface="Arial"/>
                <a:cs typeface="Arial"/>
              </a:rPr>
              <a:t> </a:t>
            </a:r>
            <a:r>
              <a:rPr sz="1101" i="1" dirty="0">
                <a:latin typeface="Arial"/>
                <a:cs typeface="Arial"/>
              </a:rPr>
              <a:t>encore</a:t>
            </a:r>
            <a:r>
              <a:rPr sz="1101" i="1" spc="-14" dirty="0">
                <a:latin typeface="Arial"/>
                <a:cs typeface="Arial"/>
              </a:rPr>
              <a:t> </a:t>
            </a:r>
            <a:r>
              <a:rPr sz="1101" i="1" dirty="0">
                <a:latin typeface="Arial"/>
                <a:cs typeface="Arial"/>
              </a:rPr>
              <a:t>être</a:t>
            </a:r>
            <a:r>
              <a:rPr sz="1101" i="1" spc="-25" dirty="0">
                <a:latin typeface="Arial"/>
                <a:cs typeface="Arial"/>
              </a:rPr>
              <a:t> </a:t>
            </a:r>
            <a:r>
              <a:rPr sz="1101" i="1" spc="-10" dirty="0">
                <a:latin typeface="Arial"/>
                <a:cs typeface="Arial"/>
              </a:rPr>
              <a:t>affinées</a:t>
            </a:r>
            <a:endParaRPr sz="1101" dirty="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488504" y="2276872"/>
            <a:ext cx="6006667" cy="3666407"/>
          </a:xfrm>
        </p:spPr>
        <p:txBody>
          <a:bodyPr/>
          <a:lstStyle/>
          <a:p>
            <a:r>
              <a:rPr lang="fr-FR" dirty="0"/>
              <a:t>Garantie des PPA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0242A491-7832-4751-9BA0-F4D27897B3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9858401-1896-4F80-9B2B-186795E41C27}" type="slidenum">
              <a:rPr lang="fr-FR" smtClean="0"/>
              <a:pPr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195391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255EFBF0-1292-CE8D-93EF-C2CD09F627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9858401-1896-4F80-9B2B-186795E41C27}" type="slidenum">
              <a:rPr lang="fr-FR" smtClean="0"/>
              <a:pPr/>
              <a:t>4</a:t>
            </a:fld>
            <a:endParaRPr lang="fr-FR"/>
          </a:p>
        </p:txBody>
      </p:sp>
      <p:grpSp>
        <p:nvGrpSpPr>
          <p:cNvPr id="3" name="object 5">
            <a:extLst>
              <a:ext uri="{FF2B5EF4-FFF2-40B4-BE49-F238E27FC236}">
                <a16:creationId xmlns:a16="http://schemas.microsoft.com/office/drawing/2014/main" id="{4BCF206B-5C37-3BB4-FD71-C958A389BA03}"/>
              </a:ext>
            </a:extLst>
          </p:cNvPr>
          <p:cNvGrpSpPr/>
          <p:nvPr/>
        </p:nvGrpSpPr>
        <p:grpSpPr>
          <a:xfrm>
            <a:off x="311480" y="0"/>
            <a:ext cx="6578417" cy="1150058"/>
            <a:chOff x="0" y="0"/>
            <a:chExt cx="7559040" cy="1793239"/>
          </a:xfrm>
        </p:grpSpPr>
        <p:sp>
          <p:nvSpPr>
            <p:cNvPr id="4" name="object 6">
              <a:extLst>
                <a:ext uri="{FF2B5EF4-FFF2-40B4-BE49-F238E27FC236}">
                  <a16:creationId xmlns:a16="http://schemas.microsoft.com/office/drawing/2014/main" id="{A3B0F35A-C04D-783B-D51D-53FC23610734}"/>
                </a:ext>
              </a:extLst>
            </p:cNvPr>
            <p:cNvSpPr/>
            <p:nvPr/>
          </p:nvSpPr>
          <p:spPr>
            <a:xfrm>
              <a:off x="0" y="0"/>
              <a:ext cx="7559040" cy="1793239"/>
            </a:xfrm>
            <a:custGeom>
              <a:avLst/>
              <a:gdLst/>
              <a:ahLst/>
              <a:cxnLst/>
              <a:rect l="l" t="t" r="r" b="b"/>
              <a:pathLst>
                <a:path w="7559040" h="1793239">
                  <a:moveTo>
                    <a:pt x="7559039" y="0"/>
                  </a:moveTo>
                  <a:lnTo>
                    <a:pt x="0" y="0"/>
                  </a:lnTo>
                  <a:lnTo>
                    <a:pt x="0" y="1792799"/>
                  </a:lnTo>
                  <a:lnTo>
                    <a:pt x="7411942" y="1117632"/>
                  </a:lnTo>
                  <a:lnTo>
                    <a:pt x="7559039" y="1102023"/>
                  </a:lnTo>
                  <a:lnTo>
                    <a:pt x="7559039" y="0"/>
                  </a:lnTo>
                  <a:close/>
                </a:path>
              </a:pathLst>
            </a:custGeom>
            <a:solidFill>
              <a:srgbClr val="FFCD00"/>
            </a:solidFill>
          </p:spPr>
          <p:txBody>
            <a:bodyPr wrap="square" lIns="0" tIns="0" rIns="0" bIns="0" rtlCol="0"/>
            <a:lstStyle/>
            <a:p>
              <a:pPr defTabSz="586380"/>
              <a:endParaRPr sz="1154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" name="object 7">
              <a:extLst>
                <a:ext uri="{FF2B5EF4-FFF2-40B4-BE49-F238E27FC236}">
                  <a16:creationId xmlns:a16="http://schemas.microsoft.com/office/drawing/2014/main" id="{A5B82C14-4B1C-5AB6-EF61-F5CBC0B07598}"/>
                </a:ext>
              </a:extLst>
            </p:cNvPr>
            <p:cNvSpPr/>
            <p:nvPr/>
          </p:nvSpPr>
          <p:spPr>
            <a:xfrm>
              <a:off x="2031492" y="518159"/>
              <a:ext cx="2218944" cy="1045463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defTabSz="586380"/>
              <a:endParaRPr sz="1154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" name="object 8">
              <a:extLst>
                <a:ext uri="{FF2B5EF4-FFF2-40B4-BE49-F238E27FC236}">
                  <a16:creationId xmlns:a16="http://schemas.microsoft.com/office/drawing/2014/main" id="{9D0CB5DB-6B7B-4A16-09C6-E3158BE6E777}"/>
                </a:ext>
              </a:extLst>
            </p:cNvPr>
            <p:cNvSpPr/>
            <p:nvPr/>
          </p:nvSpPr>
          <p:spPr>
            <a:xfrm>
              <a:off x="6062471" y="181355"/>
              <a:ext cx="1496568" cy="716279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defTabSz="586380"/>
              <a:endParaRPr sz="1154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7" name="object 9">
            <a:extLst>
              <a:ext uri="{FF2B5EF4-FFF2-40B4-BE49-F238E27FC236}">
                <a16:creationId xmlns:a16="http://schemas.microsoft.com/office/drawing/2014/main" id="{52AE5D56-970C-61A9-FE23-A5BA973CF9D9}"/>
              </a:ext>
            </a:extLst>
          </p:cNvPr>
          <p:cNvSpPr txBox="1"/>
          <p:nvPr/>
        </p:nvSpPr>
        <p:spPr>
          <a:xfrm>
            <a:off x="391732" y="1402943"/>
            <a:ext cx="9274701" cy="654555"/>
          </a:xfrm>
          <a:prstGeom prst="rect">
            <a:avLst/>
          </a:prstGeom>
        </p:spPr>
        <p:txBody>
          <a:bodyPr vert="horz" wrap="square" lIns="0" tIns="8145" rIns="0" bIns="0" rtlCol="0">
            <a:spAutoFit/>
          </a:bodyPr>
          <a:lstStyle/>
          <a:p>
            <a:pPr marL="8145" defTabSz="586380">
              <a:spcBef>
                <a:spcPts val="64"/>
              </a:spcBef>
            </a:pPr>
            <a:r>
              <a:rPr sz="1400" b="1" dirty="0">
                <a:solidFill>
                  <a:srgbClr val="574641"/>
                </a:solidFill>
                <a:latin typeface="Arial"/>
                <a:cs typeface="Arial"/>
              </a:rPr>
              <a:t>Le </a:t>
            </a:r>
            <a:r>
              <a:rPr sz="1400" b="1" spc="-3" dirty="0">
                <a:solidFill>
                  <a:srgbClr val="574641"/>
                </a:solidFill>
                <a:latin typeface="Arial"/>
                <a:cs typeface="Arial"/>
              </a:rPr>
              <a:t>C-PPA </a:t>
            </a:r>
            <a:r>
              <a:rPr sz="1400" b="1" dirty="0">
                <a:solidFill>
                  <a:srgbClr val="574641"/>
                </a:solidFill>
                <a:latin typeface="Arial"/>
                <a:cs typeface="Arial"/>
              </a:rPr>
              <a:t>(</a:t>
            </a:r>
            <a:r>
              <a:rPr sz="1400" b="1" i="1" dirty="0">
                <a:solidFill>
                  <a:srgbClr val="574641"/>
                </a:solidFill>
                <a:latin typeface="Arial"/>
                <a:cs typeface="Arial"/>
              </a:rPr>
              <a:t>Corporate Power Purchase Agreement</a:t>
            </a:r>
            <a:r>
              <a:rPr sz="1400" b="1" dirty="0">
                <a:solidFill>
                  <a:srgbClr val="574641"/>
                </a:solidFill>
                <a:latin typeface="Arial"/>
                <a:cs typeface="Arial"/>
              </a:rPr>
              <a:t>) garanti </a:t>
            </a:r>
            <a:r>
              <a:rPr sz="1400" b="1" spc="-3" dirty="0">
                <a:solidFill>
                  <a:srgbClr val="574641"/>
                </a:solidFill>
                <a:latin typeface="Arial"/>
                <a:cs typeface="Arial"/>
              </a:rPr>
              <a:t>est </a:t>
            </a:r>
            <a:r>
              <a:rPr sz="1400" b="1" dirty="0">
                <a:solidFill>
                  <a:srgbClr val="574641"/>
                </a:solidFill>
                <a:latin typeface="Arial"/>
                <a:cs typeface="Arial"/>
              </a:rPr>
              <a:t>un </a:t>
            </a:r>
            <a:r>
              <a:rPr sz="1400" b="1" dirty="0" err="1">
                <a:solidFill>
                  <a:srgbClr val="574641"/>
                </a:solidFill>
                <a:latin typeface="Arial"/>
                <a:cs typeface="Arial"/>
              </a:rPr>
              <a:t>contrat</a:t>
            </a:r>
            <a:r>
              <a:rPr sz="1400" b="1" spc="-71" dirty="0">
                <a:solidFill>
                  <a:srgbClr val="574641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574641"/>
                </a:solidFill>
                <a:latin typeface="Arial"/>
                <a:cs typeface="Arial"/>
              </a:rPr>
              <a:t>long-</a:t>
            </a:r>
            <a:r>
              <a:rPr sz="1400" b="1" dirty="0" err="1">
                <a:solidFill>
                  <a:srgbClr val="574641"/>
                </a:solidFill>
                <a:latin typeface="Arial"/>
                <a:cs typeface="Arial"/>
              </a:rPr>
              <a:t>terme</a:t>
            </a:r>
            <a:r>
              <a:rPr lang="fr-FR" sz="1400" b="1" dirty="0">
                <a:solidFill>
                  <a:srgbClr val="574641"/>
                </a:solidFill>
                <a:latin typeface="Arial"/>
                <a:cs typeface="Arial"/>
              </a:rPr>
              <a:t> </a:t>
            </a:r>
            <a:r>
              <a:rPr sz="1400" b="1" spc="-3" dirty="0" err="1">
                <a:solidFill>
                  <a:srgbClr val="574641"/>
                </a:solidFill>
                <a:latin typeface="Arial"/>
                <a:cs typeface="Arial"/>
              </a:rPr>
              <a:t>d'approvisionnement</a:t>
            </a:r>
            <a:r>
              <a:rPr sz="1400" b="1" spc="-3" dirty="0">
                <a:solidFill>
                  <a:srgbClr val="574641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574641"/>
                </a:solidFill>
                <a:latin typeface="Arial"/>
                <a:cs typeface="Arial"/>
              </a:rPr>
              <a:t>d'électricité. Il est conclu entre un producteur d’électricité produite</a:t>
            </a:r>
            <a:r>
              <a:rPr sz="1400" b="1" spc="-116" dirty="0">
                <a:solidFill>
                  <a:srgbClr val="574641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574641"/>
                </a:solidFill>
                <a:latin typeface="Arial"/>
                <a:cs typeface="Arial"/>
              </a:rPr>
              <a:t>à  </a:t>
            </a:r>
            <a:r>
              <a:rPr sz="1400" b="1" spc="-3" dirty="0">
                <a:solidFill>
                  <a:srgbClr val="574641"/>
                </a:solidFill>
                <a:latin typeface="Arial"/>
                <a:cs typeface="Arial"/>
              </a:rPr>
              <a:t>partir d’énergie renouvelable </a:t>
            </a:r>
            <a:r>
              <a:rPr sz="1400" b="1" dirty="0">
                <a:solidFill>
                  <a:srgbClr val="574641"/>
                </a:solidFill>
                <a:latin typeface="Arial"/>
                <a:cs typeface="Arial"/>
              </a:rPr>
              <a:t>et un acheteur</a:t>
            </a:r>
            <a:r>
              <a:rPr sz="1400" b="1" spc="-45" dirty="0">
                <a:solidFill>
                  <a:srgbClr val="574641"/>
                </a:solidFill>
                <a:latin typeface="Arial"/>
                <a:cs typeface="Arial"/>
              </a:rPr>
              <a:t> </a:t>
            </a:r>
            <a:r>
              <a:rPr sz="1400" b="1" dirty="0" err="1">
                <a:solidFill>
                  <a:srgbClr val="574641"/>
                </a:solidFill>
                <a:latin typeface="Arial"/>
                <a:cs typeface="Arial"/>
              </a:rPr>
              <a:t>industriel</a:t>
            </a:r>
            <a:r>
              <a:rPr sz="1400" b="1" dirty="0">
                <a:solidFill>
                  <a:srgbClr val="574641"/>
                </a:solidFill>
                <a:latin typeface="Arial"/>
                <a:cs typeface="Arial"/>
              </a:rPr>
              <a:t>.</a:t>
            </a:r>
            <a:r>
              <a:rPr lang="fr-FR" sz="1400" b="1" dirty="0">
                <a:solidFill>
                  <a:srgbClr val="574641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574641"/>
                </a:solidFill>
                <a:latin typeface="Arial"/>
                <a:cs typeface="Arial"/>
              </a:rPr>
              <a:t>Le dispositif </a:t>
            </a:r>
            <a:r>
              <a:rPr sz="1400" b="1" spc="-3" dirty="0">
                <a:solidFill>
                  <a:srgbClr val="574641"/>
                </a:solidFill>
                <a:latin typeface="Arial"/>
                <a:cs typeface="Arial"/>
              </a:rPr>
              <a:t>garantit </a:t>
            </a:r>
            <a:r>
              <a:rPr sz="1400" b="1" dirty="0">
                <a:solidFill>
                  <a:srgbClr val="574641"/>
                </a:solidFill>
                <a:latin typeface="Arial"/>
                <a:cs typeface="Arial"/>
              </a:rPr>
              <a:t>le </a:t>
            </a:r>
            <a:r>
              <a:rPr sz="1400" b="1" spc="-3" dirty="0">
                <a:solidFill>
                  <a:srgbClr val="574641"/>
                </a:solidFill>
                <a:latin typeface="Arial"/>
                <a:cs typeface="Arial"/>
              </a:rPr>
              <a:t>producteur </a:t>
            </a:r>
            <a:r>
              <a:rPr sz="1400" b="1" dirty="0">
                <a:solidFill>
                  <a:srgbClr val="574641"/>
                </a:solidFill>
                <a:latin typeface="Arial"/>
                <a:cs typeface="Arial"/>
              </a:rPr>
              <a:t>en cas de défaut de paiement de</a:t>
            </a:r>
            <a:r>
              <a:rPr sz="1400" b="1" spc="-92" dirty="0">
                <a:solidFill>
                  <a:srgbClr val="574641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574641"/>
                </a:solidFill>
                <a:latin typeface="Arial"/>
                <a:cs typeface="Arial"/>
              </a:rPr>
              <a:t>l’acheteur.</a:t>
            </a:r>
            <a:endParaRPr sz="14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grpSp>
        <p:nvGrpSpPr>
          <p:cNvPr id="8" name="object 10">
            <a:extLst>
              <a:ext uri="{FF2B5EF4-FFF2-40B4-BE49-F238E27FC236}">
                <a16:creationId xmlns:a16="http://schemas.microsoft.com/office/drawing/2014/main" id="{90CEB3C4-D193-E976-E2BC-E17872D48857}"/>
              </a:ext>
            </a:extLst>
          </p:cNvPr>
          <p:cNvGrpSpPr/>
          <p:nvPr/>
        </p:nvGrpSpPr>
        <p:grpSpPr>
          <a:xfrm>
            <a:off x="395536" y="43982"/>
            <a:ext cx="3668460" cy="1389925"/>
            <a:chOff x="131063" y="68579"/>
            <a:chExt cx="5720080" cy="2167255"/>
          </a:xfrm>
        </p:grpSpPr>
        <p:sp>
          <p:nvSpPr>
            <p:cNvPr id="9" name="object 11">
              <a:extLst>
                <a:ext uri="{FF2B5EF4-FFF2-40B4-BE49-F238E27FC236}">
                  <a16:creationId xmlns:a16="http://schemas.microsoft.com/office/drawing/2014/main" id="{BE63E24F-97AD-B12B-F879-707BE2F898A1}"/>
                </a:ext>
              </a:extLst>
            </p:cNvPr>
            <p:cNvSpPr/>
            <p:nvPr/>
          </p:nvSpPr>
          <p:spPr>
            <a:xfrm>
              <a:off x="2173224" y="1659635"/>
              <a:ext cx="0" cy="575945"/>
            </a:xfrm>
            <a:custGeom>
              <a:avLst/>
              <a:gdLst/>
              <a:ahLst/>
              <a:cxnLst/>
              <a:rect l="l" t="t" r="r" b="b"/>
              <a:pathLst>
                <a:path h="575944">
                  <a:moveTo>
                    <a:pt x="0" y="0"/>
                  </a:moveTo>
                  <a:lnTo>
                    <a:pt x="0" y="575945"/>
                  </a:lnTo>
                </a:path>
              </a:pathLst>
            </a:custGeom>
            <a:ln w="12700">
              <a:solidFill>
                <a:srgbClr val="574641"/>
              </a:solidFill>
            </a:ln>
          </p:spPr>
          <p:txBody>
            <a:bodyPr wrap="square" lIns="0" tIns="0" rIns="0" bIns="0" rtlCol="0"/>
            <a:lstStyle/>
            <a:p>
              <a:pPr defTabSz="586380"/>
              <a:endParaRPr sz="1154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" name="object 12">
              <a:extLst>
                <a:ext uri="{FF2B5EF4-FFF2-40B4-BE49-F238E27FC236}">
                  <a16:creationId xmlns:a16="http://schemas.microsoft.com/office/drawing/2014/main" id="{AF946101-F805-CC40-0C99-AC63EA390420}"/>
                </a:ext>
              </a:extLst>
            </p:cNvPr>
            <p:cNvSpPr/>
            <p:nvPr/>
          </p:nvSpPr>
          <p:spPr>
            <a:xfrm>
              <a:off x="3320161" y="513930"/>
              <a:ext cx="2178050" cy="788035"/>
            </a:xfrm>
            <a:custGeom>
              <a:avLst/>
              <a:gdLst/>
              <a:ahLst/>
              <a:cxnLst/>
              <a:rect l="l" t="t" r="r" b="b"/>
              <a:pathLst>
                <a:path w="2178050" h="788035">
                  <a:moveTo>
                    <a:pt x="26835" y="64376"/>
                  </a:moveTo>
                  <a:lnTo>
                    <a:pt x="0" y="64376"/>
                  </a:lnTo>
                  <a:lnTo>
                    <a:pt x="0" y="75107"/>
                  </a:lnTo>
                  <a:lnTo>
                    <a:pt x="26835" y="75107"/>
                  </a:lnTo>
                  <a:lnTo>
                    <a:pt x="26835" y="64376"/>
                  </a:lnTo>
                  <a:close/>
                </a:path>
                <a:path w="2178050" h="788035">
                  <a:moveTo>
                    <a:pt x="44284" y="103111"/>
                  </a:moveTo>
                  <a:lnTo>
                    <a:pt x="36690" y="95351"/>
                  </a:lnTo>
                  <a:lnTo>
                    <a:pt x="18059" y="114401"/>
                  </a:lnTo>
                  <a:lnTo>
                    <a:pt x="25641" y="122174"/>
                  </a:lnTo>
                  <a:lnTo>
                    <a:pt x="44284" y="103111"/>
                  </a:lnTo>
                  <a:close/>
                </a:path>
                <a:path w="2178050" h="788035">
                  <a:moveTo>
                    <a:pt x="44284" y="36969"/>
                  </a:moveTo>
                  <a:lnTo>
                    <a:pt x="25641" y="17932"/>
                  </a:lnTo>
                  <a:lnTo>
                    <a:pt x="18059" y="25704"/>
                  </a:lnTo>
                  <a:lnTo>
                    <a:pt x="36690" y="44754"/>
                  </a:lnTo>
                  <a:lnTo>
                    <a:pt x="44284" y="36969"/>
                  </a:lnTo>
                  <a:close/>
                </a:path>
                <a:path w="2178050" h="788035">
                  <a:moveTo>
                    <a:pt x="75145" y="113271"/>
                  </a:moveTo>
                  <a:lnTo>
                    <a:pt x="64414" y="113271"/>
                  </a:lnTo>
                  <a:lnTo>
                    <a:pt x="64414" y="140106"/>
                  </a:lnTo>
                  <a:lnTo>
                    <a:pt x="75145" y="140106"/>
                  </a:lnTo>
                  <a:lnTo>
                    <a:pt x="75145" y="113271"/>
                  </a:lnTo>
                  <a:close/>
                </a:path>
                <a:path w="2178050" h="788035">
                  <a:moveTo>
                    <a:pt x="75145" y="0"/>
                  </a:moveTo>
                  <a:lnTo>
                    <a:pt x="64414" y="0"/>
                  </a:lnTo>
                  <a:lnTo>
                    <a:pt x="64414" y="26822"/>
                  </a:lnTo>
                  <a:lnTo>
                    <a:pt x="75145" y="26822"/>
                  </a:lnTo>
                  <a:lnTo>
                    <a:pt x="75145" y="0"/>
                  </a:lnTo>
                  <a:close/>
                </a:path>
                <a:path w="2178050" h="788035">
                  <a:moveTo>
                    <a:pt x="101993" y="70358"/>
                  </a:moveTo>
                  <a:lnTo>
                    <a:pt x="99466" y="57823"/>
                  </a:lnTo>
                  <a:lnTo>
                    <a:pt x="92557" y="47599"/>
                  </a:lnTo>
                  <a:lnTo>
                    <a:pt x="82321" y="40703"/>
                  </a:lnTo>
                  <a:lnTo>
                    <a:pt x="69786" y="38176"/>
                  </a:lnTo>
                  <a:lnTo>
                    <a:pt x="57251" y="40703"/>
                  </a:lnTo>
                  <a:lnTo>
                    <a:pt x="47002" y="47599"/>
                  </a:lnTo>
                  <a:lnTo>
                    <a:pt x="40106" y="57823"/>
                  </a:lnTo>
                  <a:lnTo>
                    <a:pt x="37579" y="70358"/>
                  </a:lnTo>
                  <a:lnTo>
                    <a:pt x="40106" y="82880"/>
                  </a:lnTo>
                  <a:lnTo>
                    <a:pt x="47002" y="93116"/>
                  </a:lnTo>
                  <a:lnTo>
                    <a:pt x="57251" y="100012"/>
                  </a:lnTo>
                  <a:lnTo>
                    <a:pt x="69786" y="102539"/>
                  </a:lnTo>
                  <a:lnTo>
                    <a:pt x="82321" y="100012"/>
                  </a:lnTo>
                  <a:lnTo>
                    <a:pt x="92557" y="93116"/>
                  </a:lnTo>
                  <a:lnTo>
                    <a:pt x="99466" y="82880"/>
                  </a:lnTo>
                  <a:lnTo>
                    <a:pt x="101993" y="70358"/>
                  </a:lnTo>
                  <a:close/>
                </a:path>
                <a:path w="2178050" h="788035">
                  <a:moveTo>
                    <a:pt x="121513" y="114401"/>
                  </a:moveTo>
                  <a:lnTo>
                    <a:pt x="102882" y="95351"/>
                  </a:lnTo>
                  <a:lnTo>
                    <a:pt x="95288" y="103111"/>
                  </a:lnTo>
                  <a:lnTo>
                    <a:pt x="113919" y="122174"/>
                  </a:lnTo>
                  <a:lnTo>
                    <a:pt x="121513" y="114401"/>
                  </a:lnTo>
                  <a:close/>
                </a:path>
                <a:path w="2178050" h="788035">
                  <a:moveTo>
                    <a:pt x="121513" y="25704"/>
                  </a:moveTo>
                  <a:lnTo>
                    <a:pt x="113919" y="17932"/>
                  </a:lnTo>
                  <a:lnTo>
                    <a:pt x="95288" y="36969"/>
                  </a:lnTo>
                  <a:lnTo>
                    <a:pt x="102882" y="44754"/>
                  </a:lnTo>
                  <a:lnTo>
                    <a:pt x="121513" y="25704"/>
                  </a:lnTo>
                  <a:close/>
                </a:path>
                <a:path w="2178050" h="788035">
                  <a:moveTo>
                    <a:pt x="127000" y="333552"/>
                  </a:moveTo>
                  <a:lnTo>
                    <a:pt x="67640" y="333552"/>
                  </a:lnTo>
                  <a:lnTo>
                    <a:pt x="67640" y="367766"/>
                  </a:lnTo>
                  <a:lnTo>
                    <a:pt x="92773" y="367766"/>
                  </a:lnTo>
                  <a:lnTo>
                    <a:pt x="127000" y="333552"/>
                  </a:lnTo>
                  <a:close/>
                </a:path>
                <a:path w="2178050" h="788035">
                  <a:moveTo>
                    <a:pt x="139573" y="64376"/>
                  </a:moveTo>
                  <a:lnTo>
                    <a:pt x="112725" y="64376"/>
                  </a:lnTo>
                  <a:lnTo>
                    <a:pt x="112725" y="75107"/>
                  </a:lnTo>
                  <a:lnTo>
                    <a:pt x="139573" y="75107"/>
                  </a:lnTo>
                  <a:lnTo>
                    <a:pt x="139573" y="64376"/>
                  </a:lnTo>
                  <a:close/>
                </a:path>
                <a:path w="2178050" h="788035">
                  <a:moveTo>
                    <a:pt x="199732" y="254889"/>
                  </a:moveTo>
                  <a:lnTo>
                    <a:pt x="93167" y="254889"/>
                  </a:lnTo>
                  <a:lnTo>
                    <a:pt x="67640" y="312089"/>
                  </a:lnTo>
                  <a:lnTo>
                    <a:pt x="148463" y="312089"/>
                  </a:lnTo>
                  <a:lnTo>
                    <a:pt x="198856" y="261696"/>
                  </a:lnTo>
                  <a:lnTo>
                    <a:pt x="199732" y="254889"/>
                  </a:lnTo>
                  <a:close/>
                </a:path>
                <a:path w="2178050" h="788035">
                  <a:moveTo>
                    <a:pt x="209105" y="181851"/>
                  </a:moveTo>
                  <a:lnTo>
                    <a:pt x="126047" y="181851"/>
                  </a:lnTo>
                  <a:lnTo>
                    <a:pt x="102831" y="233426"/>
                  </a:lnTo>
                  <a:lnTo>
                    <a:pt x="202488" y="233426"/>
                  </a:lnTo>
                  <a:lnTo>
                    <a:pt x="209105" y="181851"/>
                  </a:lnTo>
                  <a:close/>
                </a:path>
                <a:path w="2178050" h="788035">
                  <a:moveTo>
                    <a:pt x="217678" y="114935"/>
                  </a:moveTo>
                  <a:lnTo>
                    <a:pt x="156184" y="114935"/>
                  </a:lnTo>
                  <a:lnTo>
                    <a:pt x="135712" y="160388"/>
                  </a:lnTo>
                  <a:lnTo>
                    <a:pt x="211848" y="160388"/>
                  </a:lnTo>
                  <a:lnTo>
                    <a:pt x="217678" y="114935"/>
                  </a:lnTo>
                  <a:close/>
                </a:path>
                <a:path w="2178050" h="788035">
                  <a:moveTo>
                    <a:pt x="278701" y="181851"/>
                  </a:moveTo>
                  <a:lnTo>
                    <a:pt x="230746" y="181851"/>
                  </a:lnTo>
                  <a:lnTo>
                    <a:pt x="224129" y="233426"/>
                  </a:lnTo>
                  <a:lnTo>
                    <a:pt x="227114" y="233426"/>
                  </a:lnTo>
                  <a:lnTo>
                    <a:pt x="278701" y="181851"/>
                  </a:lnTo>
                  <a:close/>
                </a:path>
                <a:path w="2178050" h="788035">
                  <a:moveTo>
                    <a:pt x="305816" y="154736"/>
                  </a:moveTo>
                  <a:lnTo>
                    <a:pt x="300710" y="114935"/>
                  </a:lnTo>
                  <a:lnTo>
                    <a:pt x="239318" y="114935"/>
                  </a:lnTo>
                  <a:lnTo>
                    <a:pt x="233489" y="160388"/>
                  </a:lnTo>
                  <a:lnTo>
                    <a:pt x="300164" y="160388"/>
                  </a:lnTo>
                  <a:lnTo>
                    <a:pt x="305816" y="154736"/>
                  </a:lnTo>
                  <a:close/>
                </a:path>
                <a:path w="2178050" h="788035">
                  <a:moveTo>
                    <a:pt x="345617" y="114935"/>
                  </a:moveTo>
                  <a:lnTo>
                    <a:pt x="322351" y="114935"/>
                  </a:lnTo>
                  <a:lnTo>
                    <a:pt x="325005" y="135559"/>
                  </a:lnTo>
                  <a:lnTo>
                    <a:pt x="345617" y="114935"/>
                  </a:lnTo>
                  <a:close/>
                </a:path>
                <a:path w="2178050" h="788035">
                  <a:moveTo>
                    <a:pt x="2177707" y="756297"/>
                  </a:moveTo>
                  <a:lnTo>
                    <a:pt x="2144268" y="756297"/>
                  </a:lnTo>
                  <a:lnTo>
                    <a:pt x="2118880" y="369392"/>
                  </a:lnTo>
                  <a:lnTo>
                    <a:pt x="2105774" y="366699"/>
                  </a:lnTo>
                  <a:lnTo>
                    <a:pt x="2063521" y="397167"/>
                  </a:lnTo>
                  <a:lnTo>
                    <a:pt x="2045843" y="756297"/>
                  </a:lnTo>
                  <a:lnTo>
                    <a:pt x="2012899" y="756297"/>
                  </a:lnTo>
                  <a:lnTo>
                    <a:pt x="2012899" y="787679"/>
                  </a:lnTo>
                  <a:lnTo>
                    <a:pt x="2177707" y="787679"/>
                  </a:lnTo>
                  <a:lnTo>
                    <a:pt x="2177707" y="756297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86380"/>
              <a:endParaRPr sz="1154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1" name="object 13">
              <a:extLst>
                <a:ext uri="{FF2B5EF4-FFF2-40B4-BE49-F238E27FC236}">
                  <a16:creationId xmlns:a16="http://schemas.microsoft.com/office/drawing/2014/main" id="{0A4D1481-5409-8B77-75AE-BF2A5AC20749}"/>
                </a:ext>
              </a:extLst>
            </p:cNvPr>
            <p:cNvSpPr/>
            <p:nvPr/>
          </p:nvSpPr>
          <p:spPr>
            <a:xfrm>
              <a:off x="5228890" y="578080"/>
              <a:ext cx="412474" cy="402070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defTabSz="586380"/>
              <a:endParaRPr sz="1154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2" name="object 14">
              <a:extLst>
                <a:ext uri="{FF2B5EF4-FFF2-40B4-BE49-F238E27FC236}">
                  <a16:creationId xmlns:a16="http://schemas.microsoft.com/office/drawing/2014/main" id="{963CC48C-53E5-FF49-3D27-15063A6994A3}"/>
                </a:ext>
              </a:extLst>
            </p:cNvPr>
            <p:cNvSpPr/>
            <p:nvPr/>
          </p:nvSpPr>
          <p:spPr>
            <a:xfrm>
              <a:off x="5670541" y="795793"/>
              <a:ext cx="118110" cy="356870"/>
            </a:xfrm>
            <a:custGeom>
              <a:avLst/>
              <a:gdLst/>
              <a:ahLst/>
              <a:cxnLst/>
              <a:rect l="l" t="t" r="r" b="b"/>
              <a:pathLst>
                <a:path w="118110" h="356869">
                  <a:moveTo>
                    <a:pt x="38502" y="0"/>
                  </a:moveTo>
                  <a:lnTo>
                    <a:pt x="23891" y="333240"/>
                  </a:lnTo>
                  <a:lnTo>
                    <a:pt x="0" y="333240"/>
                  </a:lnTo>
                  <a:lnTo>
                    <a:pt x="0" y="356771"/>
                  </a:lnTo>
                  <a:lnTo>
                    <a:pt x="117724" y="356771"/>
                  </a:lnTo>
                  <a:lnTo>
                    <a:pt x="117724" y="333240"/>
                  </a:lnTo>
                  <a:lnTo>
                    <a:pt x="93846" y="333240"/>
                  </a:lnTo>
                  <a:lnTo>
                    <a:pt x="81210" y="42794"/>
                  </a:lnTo>
                  <a:lnTo>
                    <a:pt x="3850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86380"/>
              <a:endParaRPr sz="1154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3" name="object 15">
              <a:extLst>
                <a:ext uri="{FF2B5EF4-FFF2-40B4-BE49-F238E27FC236}">
                  <a16:creationId xmlns:a16="http://schemas.microsoft.com/office/drawing/2014/main" id="{101B8150-5C16-41EC-4E25-0BEF27E8ADE2}"/>
                </a:ext>
              </a:extLst>
            </p:cNvPr>
            <p:cNvSpPr/>
            <p:nvPr/>
          </p:nvSpPr>
          <p:spPr>
            <a:xfrm>
              <a:off x="5545929" y="578342"/>
              <a:ext cx="305168" cy="322141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defTabSz="586380"/>
              <a:endParaRPr sz="1154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4" name="object 16">
              <a:extLst>
                <a:ext uri="{FF2B5EF4-FFF2-40B4-BE49-F238E27FC236}">
                  <a16:creationId xmlns:a16="http://schemas.microsoft.com/office/drawing/2014/main" id="{EAC37DF8-1639-365C-E4B4-7B0ED697AFFA}"/>
                </a:ext>
              </a:extLst>
            </p:cNvPr>
            <p:cNvSpPr/>
            <p:nvPr/>
          </p:nvSpPr>
          <p:spPr>
            <a:xfrm>
              <a:off x="4386835" y="619673"/>
              <a:ext cx="445770" cy="748030"/>
            </a:xfrm>
            <a:custGeom>
              <a:avLst/>
              <a:gdLst/>
              <a:ahLst/>
              <a:cxnLst/>
              <a:rect l="l" t="t" r="r" b="b"/>
              <a:pathLst>
                <a:path w="445770" h="748030">
                  <a:moveTo>
                    <a:pt x="121385" y="0"/>
                  </a:moveTo>
                  <a:lnTo>
                    <a:pt x="33105" y="0"/>
                  </a:lnTo>
                  <a:lnTo>
                    <a:pt x="0" y="452799"/>
                  </a:lnTo>
                  <a:lnTo>
                    <a:pt x="0" y="747894"/>
                  </a:lnTo>
                  <a:lnTo>
                    <a:pt x="88280" y="659493"/>
                  </a:lnTo>
                  <a:lnTo>
                    <a:pt x="88280" y="574282"/>
                  </a:lnTo>
                  <a:lnTo>
                    <a:pt x="173376" y="574282"/>
                  </a:lnTo>
                  <a:lnTo>
                    <a:pt x="294695" y="452800"/>
                  </a:lnTo>
                  <a:lnTo>
                    <a:pt x="154491" y="452799"/>
                  </a:lnTo>
                  <a:lnTo>
                    <a:pt x="121385" y="0"/>
                  </a:lnTo>
                  <a:close/>
                </a:path>
                <a:path w="445770" h="748030">
                  <a:moveTo>
                    <a:pt x="445510" y="301780"/>
                  </a:moveTo>
                  <a:lnTo>
                    <a:pt x="154491" y="452799"/>
                  </a:lnTo>
                  <a:lnTo>
                    <a:pt x="294695" y="452800"/>
                  </a:lnTo>
                  <a:lnTo>
                    <a:pt x="445510" y="30178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86380"/>
              <a:endParaRPr sz="1154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5" name="object 17">
              <a:extLst>
                <a:ext uri="{FF2B5EF4-FFF2-40B4-BE49-F238E27FC236}">
                  <a16:creationId xmlns:a16="http://schemas.microsoft.com/office/drawing/2014/main" id="{976FFBF1-42C5-30B6-E630-02DD40C6ABBD}"/>
                </a:ext>
              </a:extLst>
            </p:cNvPr>
            <p:cNvSpPr/>
            <p:nvPr/>
          </p:nvSpPr>
          <p:spPr>
            <a:xfrm>
              <a:off x="405384" y="68579"/>
              <a:ext cx="1920239" cy="1920239"/>
            </a:xfrm>
            <a:custGeom>
              <a:avLst/>
              <a:gdLst/>
              <a:ahLst/>
              <a:cxnLst/>
              <a:rect l="l" t="t" r="r" b="b"/>
              <a:pathLst>
                <a:path w="1920239" h="1920239">
                  <a:moveTo>
                    <a:pt x="960119" y="0"/>
                  </a:moveTo>
                  <a:lnTo>
                    <a:pt x="912200" y="1175"/>
                  </a:lnTo>
                  <a:lnTo>
                    <a:pt x="864888" y="4663"/>
                  </a:lnTo>
                  <a:lnTo>
                    <a:pt x="818239" y="10410"/>
                  </a:lnTo>
                  <a:lnTo>
                    <a:pt x="772309" y="18361"/>
                  </a:lnTo>
                  <a:lnTo>
                    <a:pt x="727152" y="28460"/>
                  </a:lnTo>
                  <a:lnTo>
                    <a:pt x="682823" y="40653"/>
                  </a:lnTo>
                  <a:lnTo>
                    <a:pt x="639377" y="54884"/>
                  </a:lnTo>
                  <a:lnTo>
                    <a:pt x="596870" y="71098"/>
                  </a:lnTo>
                  <a:lnTo>
                    <a:pt x="555356" y="89241"/>
                  </a:lnTo>
                  <a:lnTo>
                    <a:pt x="514890" y="109257"/>
                  </a:lnTo>
                  <a:lnTo>
                    <a:pt x="475527" y="131092"/>
                  </a:lnTo>
                  <a:lnTo>
                    <a:pt x="437323" y="154690"/>
                  </a:lnTo>
                  <a:lnTo>
                    <a:pt x="400331" y="179996"/>
                  </a:lnTo>
                  <a:lnTo>
                    <a:pt x="364608" y="206955"/>
                  </a:lnTo>
                  <a:lnTo>
                    <a:pt x="330209" y="235512"/>
                  </a:lnTo>
                  <a:lnTo>
                    <a:pt x="297187" y="265613"/>
                  </a:lnTo>
                  <a:lnTo>
                    <a:pt x="265599" y="297202"/>
                  </a:lnTo>
                  <a:lnTo>
                    <a:pt x="235500" y="330224"/>
                  </a:lnTo>
                  <a:lnTo>
                    <a:pt x="206943" y="364625"/>
                  </a:lnTo>
                  <a:lnTo>
                    <a:pt x="179985" y="400348"/>
                  </a:lnTo>
                  <a:lnTo>
                    <a:pt x="154680" y="437339"/>
                  </a:lnTo>
                  <a:lnTo>
                    <a:pt x="131083" y="475544"/>
                  </a:lnTo>
                  <a:lnTo>
                    <a:pt x="109250" y="514907"/>
                  </a:lnTo>
                  <a:lnTo>
                    <a:pt x="89235" y="555372"/>
                  </a:lnTo>
                  <a:lnTo>
                    <a:pt x="71093" y="596886"/>
                  </a:lnTo>
                  <a:lnTo>
                    <a:pt x="54880" y="639392"/>
                  </a:lnTo>
                  <a:lnTo>
                    <a:pt x="40650" y="682837"/>
                  </a:lnTo>
                  <a:lnTo>
                    <a:pt x="28458" y="727164"/>
                  </a:lnTo>
                  <a:lnTo>
                    <a:pt x="18360" y="772320"/>
                  </a:lnTo>
                  <a:lnTo>
                    <a:pt x="10410" y="818248"/>
                  </a:lnTo>
                  <a:lnTo>
                    <a:pt x="4663" y="864894"/>
                  </a:lnTo>
                  <a:lnTo>
                    <a:pt x="1175" y="912203"/>
                  </a:lnTo>
                  <a:lnTo>
                    <a:pt x="0" y="960120"/>
                  </a:lnTo>
                  <a:lnTo>
                    <a:pt x="1175" y="1008036"/>
                  </a:lnTo>
                  <a:lnTo>
                    <a:pt x="4663" y="1055345"/>
                  </a:lnTo>
                  <a:lnTo>
                    <a:pt x="10410" y="1101991"/>
                  </a:lnTo>
                  <a:lnTo>
                    <a:pt x="18360" y="1147919"/>
                  </a:lnTo>
                  <a:lnTo>
                    <a:pt x="28458" y="1193075"/>
                  </a:lnTo>
                  <a:lnTo>
                    <a:pt x="40650" y="1237402"/>
                  </a:lnTo>
                  <a:lnTo>
                    <a:pt x="54880" y="1280847"/>
                  </a:lnTo>
                  <a:lnTo>
                    <a:pt x="71093" y="1323353"/>
                  </a:lnTo>
                  <a:lnTo>
                    <a:pt x="89235" y="1364867"/>
                  </a:lnTo>
                  <a:lnTo>
                    <a:pt x="109250" y="1405332"/>
                  </a:lnTo>
                  <a:lnTo>
                    <a:pt x="131083" y="1444695"/>
                  </a:lnTo>
                  <a:lnTo>
                    <a:pt x="154680" y="1482900"/>
                  </a:lnTo>
                  <a:lnTo>
                    <a:pt x="179985" y="1519891"/>
                  </a:lnTo>
                  <a:lnTo>
                    <a:pt x="206943" y="1555614"/>
                  </a:lnTo>
                  <a:lnTo>
                    <a:pt x="235500" y="1590015"/>
                  </a:lnTo>
                  <a:lnTo>
                    <a:pt x="265599" y="1623037"/>
                  </a:lnTo>
                  <a:lnTo>
                    <a:pt x="297187" y="1654626"/>
                  </a:lnTo>
                  <a:lnTo>
                    <a:pt x="330209" y="1684727"/>
                  </a:lnTo>
                  <a:lnTo>
                    <a:pt x="364608" y="1713284"/>
                  </a:lnTo>
                  <a:lnTo>
                    <a:pt x="400331" y="1740243"/>
                  </a:lnTo>
                  <a:lnTo>
                    <a:pt x="437323" y="1765549"/>
                  </a:lnTo>
                  <a:lnTo>
                    <a:pt x="475527" y="1789147"/>
                  </a:lnTo>
                  <a:lnTo>
                    <a:pt x="514890" y="1810982"/>
                  </a:lnTo>
                  <a:lnTo>
                    <a:pt x="555356" y="1830998"/>
                  </a:lnTo>
                  <a:lnTo>
                    <a:pt x="596870" y="1849141"/>
                  </a:lnTo>
                  <a:lnTo>
                    <a:pt x="639377" y="1865355"/>
                  </a:lnTo>
                  <a:lnTo>
                    <a:pt x="682823" y="1879586"/>
                  </a:lnTo>
                  <a:lnTo>
                    <a:pt x="727152" y="1891779"/>
                  </a:lnTo>
                  <a:lnTo>
                    <a:pt x="772309" y="1901878"/>
                  </a:lnTo>
                  <a:lnTo>
                    <a:pt x="818239" y="1909829"/>
                  </a:lnTo>
                  <a:lnTo>
                    <a:pt x="864888" y="1915576"/>
                  </a:lnTo>
                  <a:lnTo>
                    <a:pt x="912200" y="1919064"/>
                  </a:lnTo>
                  <a:lnTo>
                    <a:pt x="960119" y="1920239"/>
                  </a:lnTo>
                  <a:lnTo>
                    <a:pt x="1008036" y="1919064"/>
                  </a:lnTo>
                  <a:lnTo>
                    <a:pt x="1055345" y="1915576"/>
                  </a:lnTo>
                  <a:lnTo>
                    <a:pt x="1101991" y="1909829"/>
                  </a:lnTo>
                  <a:lnTo>
                    <a:pt x="1147919" y="1901878"/>
                  </a:lnTo>
                  <a:lnTo>
                    <a:pt x="1193075" y="1891779"/>
                  </a:lnTo>
                  <a:lnTo>
                    <a:pt x="1237402" y="1879586"/>
                  </a:lnTo>
                  <a:lnTo>
                    <a:pt x="1280847" y="1865355"/>
                  </a:lnTo>
                  <a:lnTo>
                    <a:pt x="1323353" y="1849141"/>
                  </a:lnTo>
                  <a:lnTo>
                    <a:pt x="1364867" y="1830998"/>
                  </a:lnTo>
                  <a:lnTo>
                    <a:pt x="1405332" y="1810982"/>
                  </a:lnTo>
                  <a:lnTo>
                    <a:pt x="1444695" y="1789147"/>
                  </a:lnTo>
                  <a:lnTo>
                    <a:pt x="1482900" y="1765549"/>
                  </a:lnTo>
                  <a:lnTo>
                    <a:pt x="1519891" y="1740243"/>
                  </a:lnTo>
                  <a:lnTo>
                    <a:pt x="1555614" y="1713284"/>
                  </a:lnTo>
                  <a:lnTo>
                    <a:pt x="1590015" y="1684727"/>
                  </a:lnTo>
                  <a:lnTo>
                    <a:pt x="1623037" y="1654626"/>
                  </a:lnTo>
                  <a:lnTo>
                    <a:pt x="1654626" y="1623037"/>
                  </a:lnTo>
                  <a:lnTo>
                    <a:pt x="1684727" y="1590015"/>
                  </a:lnTo>
                  <a:lnTo>
                    <a:pt x="1713284" y="1555614"/>
                  </a:lnTo>
                  <a:lnTo>
                    <a:pt x="1740243" y="1519891"/>
                  </a:lnTo>
                  <a:lnTo>
                    <a:pt x="1765549" y="1482900"/>
                  </a:lnTo>
                  <a:lnTo>
                    <a:pt x="1789147" y="1444695"/>
                  </a:lnTo>
                  <a:lnTo>
                    <a:pt x="1810982" y="1405332"/>
                  </a:lnTo>
                  <a:lnTo>
                    <a:pt x="1830998" y="1364867"/>
                  </a:lnTo>
                  <a:lnTo>
                    <a:pt x="1849141" y="1323353"/>
                  </a:lnTo>
                  <a:lnTo>
                    <a:pt x="1865355" y="1280847"/>
                  </a:lnTo>
                  <a:lnTo>
                    <a:pt x="1879586" y="1237402"/>
                  </a:lnTo>
                  <a:lnTo>
                    <a:pt x="1891779" y="1193075"/>
                  </a:lnTo>
                  <a:lnTo>
                    <a:pt x="1901878" y="1147919"/>
                  </a:lnTo>
                  <a:lnTo>
                    <a:pt x="1909829" y="1101991"/>
                  </a:lnTo>
                  <a:lnTo>
                    <a:pt x="1915576" y="1055345"/>
                  </a:lnTo>
                  <a:lnTo>
                    <a:pt x="1919064" y="1008036"/>
                  </a:lnTo>
                  <a:lnTo>
                    <a:pt x="1920239" y="960120"/>
                  </a:lnTo>
                  <a:lnTo>
                    <a:pt x="1919064" y="912203"/>
                  </a:lnTo>
                  <a:lnTo>
                    <a:pt x="1915576" y="864894"/>
                  </a:lnTo>
                  <a:lnTo>
                    <a:pt x="1909829" y="818248"/>
                  </a:lnTo>
                  <a:lnTo>
                    <a:pt x="1901878" y="772320"/>
                  </a:lnTo>
                  <a:lnTo>
                    <a:pt x="1891779" y="727164"/>
                  </a:lnTo>
                  <a:lnTo>
                    <a:pt x="1879586" y="682837"/>
                  </a:lnTo>
                  <a:lnTo>
                    <a:pt x="1865355" y="639392"/>
                  </a:lnTo>
                  <a:lnTo>
                    <a:pt x="1849141" y="596886"/>
                  </a:lnTo>
                  <a:lnTo>
                    <a:pt x="1830998" y="555372"/>
                  </a:lnTo>
                  <a:lnTo>
                    <a:pt x="1810982" y="514907"/>
                  </a:lnTo>
                  <a:lnTo>
                    <a:pt x="1789147" y="475544"/>
                  </a:lnTo>
                  <a:lnTo>
                    <a:pt x="1765549" y="437339"/>
                  </a:lnTo>
                  <a:lnTo>
                    <a:pt x="1740243" y="400348"/>
                  </a:lnTo>
                  <a:lnTo>
                    <a:pt x="1713284" y="364625"/>
                  </a:lnTo>
                  <a:lnTo>
                    <a:pt x="1684727" y="330224"/>
                  </a:lnTo>
                  <a:lnTo>
                    <a:pt x="1654626" y="297202"/>
                  </a:lnTo>
                  <a:lnTo>
                    <a:pt x="1623037" y="265613"/>
                  </a:lnTo>
                  <a:lnTo>
                    <a:pt x="1590015" y="235512"/>
                  </a:lnTo>
                  <a:lnTo>
                    <a:pt x="1555614" y="206955"/>
                  </a:lnTo>
                  <a:lnTo>
                    <a:pt x="1519891" y="179996"/>
                  </a:lnTo>
                  <a:lnTo>
                    <a:pt x="1482900" y="154690"/>
                  </a:lnTo>
                  <a:lnTo>
                    <a:pt x="1444695" y="131092"/>
                  </a:lnTo>
                  <a:lnTo>
                    <a:pt x="1405332" y="109257"/>
                  </a:lnTo>
                  <a:lnTo>
                    <a:pt x="1364867" y="89241"/>
                  </a:lnTo>
                  <a:lnTo>
                    <a:pt x="1323353" y="71098"/>
                  </a:lnTo>
                  <a:lnTo>
                    <a:pt x="1280847" y="54884"/>
                  </a:lnTo>
                  <a:lnTo>
                    <a:pt x="1237402" y="40653"/>
                  </a:lnTo>
                  <a:lnTo>
                    <a:pt x="1193075" y="28460"/>
                  </a:lnTo>
                  <a:lnTo>
                    <a:pt x="1147919" y="18361"/>
                  </a:lnTo>
                  <a:lnTo>
                    <a:pt x="1101991" y="10410"/>
                  </a:lnTo>
                  <a:lnTo>
                    <a:pt x="1055345" y="4663"/>
                  </a:lnTo>
                  <a:lnTo>
                    <a:pt x="1008036" y="1175"/>
                  </a:lnTo>
                  <a:lnTo>
                    <a:pt x="960119" y="0"/>
                  </a:lnTo>
                  <a:close/>
                </a:path>
              </a:pathLst>
            </a:custGeom>
            <a:solidFill>
              <a:srgbClr val="574641"/>
            </a:solidFill>
          </p:spPr>
          <p:txBody>
            <a:bodyPr wrap="square" lIns="0" tIns="0" rIns="0" bIns="0" rtlCol="0"/>
            <a:lstStyle/>
            <a:p>
              <a:pPr defTabSz="586380"/>
              <a:endParaRPr sz="1154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6" name="object 18">
              <a:extLst>
                <a:ext uri="{FF2B5EF4-FFF2-40B4-BE49-F238E27FC236}">
                  <a16:creationId xmlns:a16="http://schemas.microsoft.com/office/drawing/2014/main" id="{63AA7968-BA50-93F8-D5B2-917A85E6FC83}"/>
                </a:ext>
              </a:extLst>
            </p:cNvPr>
            <p:cNvSpPr/>
            <p:nvPr/>
          </p:nvSpPr>
          <p:spPr>
            <a:xfrm>
              <a:off x="131063" y="655319"/>
              <a:ext cx="615950" cy="615950"/>
            </a:xfrm>
            <a:custGeom>
              <a:avLst/>
              <a:gdLst/>
              <a:ahLst/>
              <a:cxnLst/>
              <a:rect l="l" t="t" r="r" b="b"/>
              <a:pathLst>
                <a:path w="615950" h="615950">
                  <a:moveTo>
                    <a:pt x="307848" y="0"/>
                  </a:moveTo>
                  <a:lnTo>
                    <a:pt x="262357" y="3337"/>
                  </a:lnTo>
                  <a:lnTo>
                    <a:pt x="218939" y="13031"/>
                  </a:lnTo>
                  <a:lnTo>
                    <a:pt x="178069" y="28606"/>
                  </a:lnTo>
                  <a:lnTo>
                    <a:pt x="140223" y="49587"/>
                  </a:lnTo>
                  <a:lnTo>
                    <a:pt x="105879" y="75498"/>
                  </a:lnTo>
                  <a:lnTo>
                    <a:pt x="75511" y="105863"/>
                  </a:lnTo>
                  <a:lnTo>
                    <a:pt x="49597" y="140206"/>
                  </a:lnTo>
                  <a:lnTo>
                    <a:pt x="28612" y="178052"/>
                  </a:lnTo>
                  <a:lnTo>
                    <a:pt x="13034" y="218925"/>
                  </a:lnTo>
                  <a:lnTo>
                    <a:pt x="3337" y="262348"/>
                  </a:lnTo>
                  <a:lnTo>
                    <a:pt x="0" y="307848"/>
                  </a:lnTo>
                  <a:lnTo>
                    <a:pt x="3337" y="353347"/>
                  </a:lnTo>
                  <a:lnTo>
                    <a:pt x="13034" y="396770"/>
                  </a:lnTo>
                  <a:lnTo>
                    <a:pt x="28612" y="437643"/>
                  </a:lnTo>
                  <a:lnTo>
                    <a:pt x="49597" y="475489"/>
                  </a:lnTo>
                  <a:lnTo>
                    <a:pt x="75511" y="509832"/>
                  </a:lnTo>
                  <a:lnTo>
                    <a:pt x="105879" y="540197"/>
                  </a:lnTo>
                  <a:lnTo>
                    <a:pt x="140223" y="566108"/>
                  </a:lnTo>
                  <a:lnTo>
                    <a:pt x="178069" y="587089"/>
                  </a:lnTo>
                  <a:lnTo>
                    <a:pt x="218939" y="602664"/>
                  </a:lnTo>
                  <a:lnTo>
                    <a:pt x="262357" y="612358"/>
                  </a:lnTo>
                  <a:lnTo>
                    <a:pt x="307848" y="615696"/>
                  </a:lnTo>
                  <a:lnTo>
                    <a:pt x="353338" y="612358"/>
                  </a:lnTo>
                  <a:lnTo>
                    <a:pt x="396756" y="602664"/>
                  </a:lnTo>
                  <a:lnTo>
                    <a:pt x="437626" y="587089"/>
                  </a:lnTo>
                  <a:lnTo>
                    <a:pt x="475472" y="566108"/>
                  </a:lnTo>
                  <a:lnTo>
                    <a:pt x="509816" y="540197"/>
                  </a:lnTo>
                  <a:lnTo>
                    <a:pt x="540184" y="509832"/>
                  </a:lnTo>
                  <a:lnTo>
                    <a:pt x="566098" y="475489"/>
                  </a:lnTo>
                  <a:lnTo>
                    <a:pt x="587083" y="437643"/>
                  </a:lnTo>
                  <a:lnTo>
                    <a:pt x="602661" y="396770"/>
                  </a:lnTo>
                  <a:lnTo>
                    <a:pt x="612358" y="353347"/>
                  </a:lnTo>
                  <a:lnTo>
                    <a:pt x="615696" y="307848"/>
                  </a:lnTo>
                  <a:lnTo>
                    <a:pt x="612358" y="262348"/>
                  </a:lnTo>
                  <a:lnTo>
                    <a:pt x="602661" y="218925"/>
                  </a:lnTo>
                  <a:lnTo>
                    <a:pt x="587083" y="178052"/>
                  </a:lnTo>
                  <a:lnTo>
                    <a:pt x="566098" y="140206"/>
                  </a:lnTo>
                  <a:lnTo>
                    <a:pt x="540184" y="105863"/>
                  </a:lnTo>
                  <a:lnTo>
                    <a:pt x="509816" y="75498"/>
                  </a:lnTo>
                  <a:lnTo>
                    <a:pt x="475472" y="49587"/>
                  </a:lnTo>
                  <a:lnTo>
                    <a:pt x="437626" y="28606"/>
                  </a:lnTo>
                  <a:lnTo>
                    <a:pt x="396756" y="13031"/>
                  </a:lnTo>
                  <a:lnTo>
                    <a:pt x="353338" y="3337"/>
                  </a:lnTo>
                  <a:lnTo>
                    <a:pt x="30784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86380"/>
              <a:endParaRPr sz="1154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17" name="object 35">
            <a:extLst>
              <a:ext uri="{FF2B5EF4-FFF2-40B4-BE49-F238E27FC236}">
                <a16:creationId xmlns:a16="http://schemas.microsoft.com/office/drawing/2014/main" id="{FC06C847-91C7-28D1-46DC-E01F6E7EE295}"/>
              </a:ext>
            </a:extLst>
          </p:cNvPr>
          <p:cNvSpPr txBox="1"/>
          <p:nvPr/>
        </p:nvSpPr>
        <p:spPr>
          <a:xfrm>
            <a:off x="5691934" y="4655785"/>
            <a:ext cx="3292397" cy="482713"/>
          </a:xfrm>
          <a:prstGeom prst="rect">
            <a:avLst/>
          </a:prstGeom>
        </p:spPr>
        <p:txBody>
          <a:bodyPr vert="horz" wrap="square" lIns="0" tIns="8145" rIns="0" bIns="0" rtlCol="0">
            <a:spAutoFit/>
          </a:bodyPr>
          <a:lstStyle/>
          <a:p>
            <a:pPr marL="118499" indent="-110761" defTabSz="586380">
              <a:spcBef>
                <a:spcPts val="64"/>
              </a:spcBef>
              <a:buClr>
                <a:srgbClr val="FFCD00"/>
              </a:buClr>
              <a:buSzPct val="177777"/>
              <a:buFontTx/>
              <a:buChar char="•"/>
              <a:tabLst>
                <a:tab pos="118904" algn="l"/>
              </a:tabLst>
            </a:pPr>
            <a:r>
              <a:rPr sz="1000" spc="-3" dirty="0">
                <a:solidFill>
                  <a:srgbClr val="574641"/>
                </a:solidFill>
                <a:latin typeface="Arial"/>
                <a:cs typeface="Arial"/>
              </a:rPr>
              <a:t>les </a:t>
            </a:r>
            <a:r>
              <a:rPr sz="1000" dirty="0">
                <a:solidFill>
                  <a:srgbClr val="574641"/>
                </a:solidFill>
                <a:latin typeface="Arial"/>
                <a:cs typeface="Arial"/>
              </a:rPr>
              <a:t>trois factures </a:t>
            </a:r>
            <a:r>
              <a:rPr sz="1000" spc="-3" dirty="0">
                <a:solidFill>
                  <a:srgbClr val="574641"/>
                </a:solidFill>
                <a:latin typeface="Arial"/>
                <a:cs typeface="Arial"/>
              </a:rPr>
              <a:t>doivent </a:t>
            </a:r>
            <a:r>
              <a:rPr sz="1000" dirty="0">
                <a:solidFill>
                  <a:srgbClr val="574641"/>
                </a:solidFill>
                <a:latin typeface="Arial"/>
                <a:cs typeface="Arial"/>
              </a:rPr>
              <a:t>demeurent </a:t>
            </a:r>
            <a:r>
              <a:rPr sz="1000" spc="-3" dirty="0">
                <a:solidFill>
                  <a:srgbClr val="574641"/>
                </a:solidFill>
                <a:latin typeface="Arial"/>
                <a:cs typeface="Arial"/>
              </a:rPr>
              <a:t>impayées </a:t>
            </a:r>
            <a:r>
              <a:rPr sz="1000" dirty="0">
                <a:solidFill>
                  <a:srgbClr val="574641"/>
                </a:solidFill>
                <a:latin typeface="Arial"/>
                <a:cs typeface="Arial"/>
              </a:rPr>
              <a:t>;</a:t>
            </a:r>
            <a:r>
              <a:rPr sz="1000" spc="-58" dirty="0">
                <a:solidFill>
                  <a:srgbClr val="574641"/>
                </a:solidFill>
                <a:latin typeface="Arial"/>
                <a:cs typeface="Arial"/>
              </a:rPr>
              <a:t> </a:t>
            </a:r>
            <a:r>
              <a:rPr sz="1000" spc="-3" dirty="0" err="1">
                <a:solidFill>
                  <a:srgbClr val="574641"/>
                </a:solidFill>
                <a:latin typeface="Arial"/>
                <a:cs typeface="Arial"/>
              </a:rPr>
              <a:t>ou</a:t>
            </a:r>
            <a:endParaRPr lang="fr-FR" sz="1000" spc="-3" dirty="0">
              <a:solidFill>
                <a:srgbClr val="574641"/>
              </a:solidFill>
              <a:latin typeface="Arial"/>
              <a:cs typeface="Arial"/>
            </a:endParaRPr>
          </a:p>
          <a:p>
            <a:pPr marL="118499" indent="-110761" defTabSz="586380">
              <a:spcBef>
                <a:spcPts val="64"/>
              </a:spcBef>
              <a:buClr>
                <a:srgbClr val="FFCD00"/>
              </a:buClr>
              <a:buSzPct val="177777"/>
              <a:buFontTx/>
              <a:buChar char="•"/>
              <a:tabLst>
                <a:tab pos="118904" algn="l"/>
              </a:tabLst>
            </a:pPr>
            <a:r>
              <a:rPr lang="fr-FR" sz="1000" dirty="0">
                <a:solidFill>
                  <a:srgbClr val="574641"/>
                </a:solidFill>
                <a:latin typeface="Arial"/>
                <a:cs typeface="Arial"/>
              </a:rPr>
              <a:t>si elles sont consécutives, </a:t>
            </a:r>
            <a:r>
              <a:rPr lang="fr-FR" sz="1000" spc="-3" dirty="0">
                <a:solidFill>
                  <a:srgbClr val="574641"/>
                </a:solidFill>
                <a:latin typeface="Arial"/>
                <a:cs typeface="Arial"/>
              </a:rPr>
              <a:t>au </a:t>
            </a:r>
            <a:r>
              <a:rPr lang="fr-FR" sz="1000" dirty="0">
                <a:solidFill>
                  <a:srgbClr val="574641"/>
                </a:solidFill>
                <a:latin typeface="Arial"/>
                <a:cs typeface="Arial"/>
              </a:rPr>
              <a:t>moins </a:t>
            </a:r>
            <a:r>
              <a:rPr lang="fr-FR" sz="1000" spc="-3" dirty="0">
                <a:solidFill>
                  <a:srgbClr val="574641"/>
                </a:solidFill>
                <a:latin typeface="Arial"/>
                <a:cs typeface="Arial"/>
              </a:rPr>
              <a:t>une doit </a:t>
            </a:r>
            <a:r>
              <a:rPr lang="fr-FR" sz="1000" dirty="0">
                <a:solidFill>
                  <a:srgbClr val="574641"/>
                </a:solidFill>
                <a:latin typeface="Arial"/>
                <a:cs typeface="Arial"/>
              </a:rPr>
              <a:t>rester</a:t>
            </a:r>
            <a:r>
              <a:rPr lang="fr-FR" sz="1000" spc="-82" dirty="0">
                <a:solidFill>
                  <a:srgbClr val="574641"/>
                </a:solidFill>
                <a:latin typeface="Arial"/>
                <a:cs typeface="Arial"/>
              </a:rPr>
              <a:t> </a:t>
            </a:r>
            <a:r>
              <a:rPr lang="fr-FR" sz="1000" dirty="0">
                <a:solidFill>
                  <a:srgbClr val="574641"/>
                </a:solidFill>
                <a:latin typeface="Arial"/>
                <a:cs typeface="Arial"/>
              </a:rPr>
              <a:t>impayée</a:t>
            </a:r>
            <a:endParaRPr sz="10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8" name="object 58">
            <a:extLst>
              <a:ext uri="{FF2B5EF4-FFF2-40B4-BE49-F238E27FC236}">
                <a16:creationId xmlns:a16="http://schemas.microsoft.com/office/drawing/2014/main" id="{2F741B20-FC73-FCE5-0877-AD128FF27662}"/>
              </a:ext>
            </a:extLst>
          </p:cNvPr>
          <p:cNvSpPr txBox="1"/>
          <p:nvPr/>
        </p:nvSpPr>
        <p:spPr>
          <a:xfrm>
            <a:off x="490016" y="539029"/>
            <a:ext cx="188148" cy="146404"/>
          </a:xfrm>
          <a:prstGeom prst="rect">
            <a:avLst/>
          </a:prstGeom>
        </p:spPr>
        <p:txBody>
          <a:bodyPr vert="horz" wrap="square" lIns="0" tIns="8145" rIns="0" bIns="0" rtlCol="0">
            <a:spAutoFit/>
          </a:bodyPr>
          <a:lstStyle/>
          <a:p>
            <a:pPr marL="8145" defTabSz="586380">
              <a:spcBef>
                <a:spcPts val="64"/>
              </a:spcBef>
            </a:pPr>
            <a:r>
              <a:rPr sz="898" spc="-6" dirty="0">
                <a:solidFill>
                  <a:srgbClr val="5E514D"/>
                </a:solidFill>
                <a:latin typeface="Impact"/>
                <a:cs typeface="Impact"/>
              </a:rPr>
              <a:t>G</a:t>
            </a:r>
            <a:r>
              <a:rPr sz="898" dirty="0">
                <a:solidFill>
                  <a:srgbClr val="5E514D"/>
                </a:solidFill>
                <a:latin typeface="Impact"/>
                <a:cs typeface="Impact"/>
              </a:rPr>
              <a:t>ER</a:t>
            </a:r>
            <a:endParaRPr sz="898">
              <a:solidFill>
                <a:prstClr val="black"/>
              </a:solidFill>
              <a:latin typeface="Impact"/>
              <a:cs typeface="Impact"/>
            </a:endParaRPr>
          </a:p>
        </p:txBody>
      </p:sp>
      <p:sp>
        <p:nvSpPr>
          <p:cNvPr id="19" name="object 59">
            <a:extLst>
              <a:ext uri="{FF2B5EF4-FFF2-40B4-BE49-F238E27FC236}">
                <a16:creationId xmlns:a16="http://schemas.microsoft.com/office/drawing/2014/main" id="{1BCD4CBA-AFD6-F6D7-6D3E-071B084639A7}"/>
              </a:ext>
            </a:extLst>
          </p:cNvPr>
          <p:cNvSpPr txBox="1"/>
          <p:nvPr/>
        </p:nvSpPr>
        <p:spPr>
          <a:xfrm>
            <a:off x="751958" y="84709"/>
            <a:ext cx="909377" cy="1098369"/>
          </a:xfrm>
          <a:prstGeom prst="rect">
            <a:avLst/>
          </a:prstGeom>
        </p:spPr>
        <p:txBody>
          <a:bodyPr vert="horz" wrap="square" lIns="0" tIns="7738" rIns="0" bIns="0" rtlCol="0">
            <a:spAutoFit/>
          </a:bodyPr>
          <a:lstStyle/>
          <a:p>
            <a:pPr marL="53752" marR="3259" indent="-1629" algn="ctr" defTabSz="586380">
              <a:spcBef>
                <a:spcPts val="61"/>
              </a:spcBef>
            </a:pPr>
            <a:r>
              <a:rPr sz="1186" spc="-3" dirty="0">
                <a:solidFill>
                  <a:srgbClr val="FFCD00"/>
                </a:solidFill>
                <a:latin typeface="Impact"/>
                <a:cs typeface="Impact"/>
              </a:rPr>
              <a:t>Garantie  </a:t>
            </a:r>
            <a:r>
              <a:rPr sz="1186" spc="-6" dirty="0">
                <a:solidFill>
                  <a:srgbClr val="FFCD00"/>
                </a:solidFill>
                <a:latin typeface="Impact"/>
                <a:cs typeface="Impact"/>
              </a:rPr>
              <a:t>Électricité  </a:t>
            </a:r>
            <a:r>
              <a:rPr sz="1186" spc="-3" dirty="0">
                <a:solidFill>
                  <a:srgbClr val="FFCD00"/>
                </a:solidFill>
                <a:latin typeface="Impact"/>
                <a:cs typeface="Impact"/>
              </a:rPr>
              <a:t>Re</a:t>
            </a:r>
            <a:r>
              <a:rPr sz="1186" dirty="0">
                <a:solidFill>
                  <a:srgbClr val="FFCD00"/>
                </a:solidFill>
                <a:latin typeface="Impact"/>
                <a:cs typeface="Impact"/>
              </a:rPr>
              <a:t>n</a:t>
            </a:r>
            <a:r>
              <a:rPr sz="1186" spc="-6" dirty="0">
                <a:solidFill>
                  <a:srgbClr val="FFCD00"/>
                </a:solidFill>
                <a:latin typeface="Impact"/>
                <a:cs typeface="Impact"/>
              </a:rPr>
              <a:t>ouve</a:t>
            </a:r>
            <a:r>
              <a:rPr sz="1186" spc="-16" dirty="0">
                <a:solidFill>
                  <a:srgbClr val="FFCD00"/>
                </a:solidFill>
                <a:latin typeface="Impact"/>
                <a:cs typeface="Impact"/>
              </a:rPr>
              <a:t>l</a:t>
            </a:r>
            <a:r>
              <a:rPr sz="1186" spc="-3" dirty="0">
                <a:solidFill>
                  <a:srgbClr val="FFCD00"/>
                </a:solidFill>
                <a:latin typeface="Impact"/>
                <a:cs typeface="Impact"/>
              </a:rPr>
              <a:t>ab</a:t>
            </a:r>
            <a:r>
              <a:rPr sz="1186" spc="-13" dirty="0">
                <a:solidFill>
                  <a:srgbClr val="FFCD00"/>
                </a:solidFill>
                <a:latin typeface="Impact"/>
                <a:cs typeface="Impact"/>
              </a:rPr>
              <a:t>l</a:t>
            </a:r>
            <a:r>
              <a:rPr sz="1186" spc="-3" dirty="0">
                <a:solidFill>
                  <a:srgbClr val="FFCD00"/>
                </a:solidFill>
                <a:latin typeface="Impact"/>
                <a:cs typeface="Impact"/>
              </a:rPr>
              <a:t>e</a:t>
            </a:r>
            <a:endParaRPr sz="1186" dirty="0">
              <a:solidFill>
                <a:prstClr val="black"/>
              </a:solidFill>
              <a:latin typeface="Impact"/>
              <a:cs typeface="Impact"/>
            </a:endParaRPr>
          </a:p>
          <a:p>
            <a:pPr marL="7736" marR="15474" algn="ctr" defTabSz="586380">
              <a:lnSpc>
                <a:spcPct val="90100"/>
              </a:lnSpc>
              <a:spcBef>
                <a:spcPts val="638"/>
              </a:spcBef>
            </a:pPr>
            <a:r>
              <a:rPr sz="673" b="1" dirty="0">
                <a:solidFill>
                  <a:srgbClr val="FFFFFF"/>
                </a:solidFill>
                <a:latin typeface="Arial"/>
                <a:cs typeface="Arial"/>
              </a:rPr>
              <a:t>Garantie des</a:t>
            </a:r>
            <a:r>
              <a:rPr sz="673" b="1" spc="-71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673" b="1" dirty="0">
                <a:solidFill>
                  <a:srgbClr val="FFFFFF"/>
                </a:solidFill>
                <a:latin typeface="Arial"/>
                <a:cs typeface="Arial"/>
              </a:rPr>
              <a:t>contrats  de gré à gré  d'appro</a:t>
            </a:r>
            <a:r>
              <a:rPr sz="673" b="1" spc="-6" dirty="0">
                <a:solidFill>
                  <a:srgbClr val="FFFFFF"/>
                </a:solidFill>
                <a:latin typeface="Arial"/>
                <a:cs typeface="Arial"/>
              </a:rPr>
              <a:t>vi</a:t>
            </a:r>
            <a:r>
              <a:rPr sz="673" b="1" dirty="0">
                <a:solidFill>
                  <a:srgbClr val="FFFFFF"/>
                </a:solidFill>
                <a:latin typeface="Arial"/>
                <a:cs typeface="Arial"/>
              </a:rPr>
              <a:t>s</a:t>
            </a:r>
            <a:r>
              <a:rPr sz="673" b="1" spc="-3" dirty="0">
                <a:solidFill>
                  <a:srgbClr val="FFFFFF"/>
                </a:solidFill>
                <a:latin typeface="Arial"/>
                <a:cs typeface="Arial"/>
              </a:rPr>
              <a:t>i</a:t>
            </a:r>
            <a:r>
              <a:rPr sz="673" b="1" dirty="0">
                <a:solidFill>
                  <a:srgbClr val="FFFFFF"/>
                </a:solidFill>
                <a:latin typeface="Arial"/>
                <a:cs typeface="Arial"/>
              </a:rPr>
              <a:t>o</a:t>
            </a:r>
            <a:r>
              <a:rPr sz="673" b="1" spc="-6" dirty="0">
                <a:solidFill>
                  <a:srgbClr val="FFFFFF"/>
                </a:solidFill>
                <a:latin typeface="Arial"/>
                <a:cs typeface="Arial"/>
              </a:rPr>
              <a:t>nn</a:t>
            </a:r>
            <a:r>
              <a:rPr sz="673" b="1" dirty="0">
                <a:solidFill>
                  <a:srgbClr val="FFFFFF"/>
                </a:solidFill>
                <a:latin typeface="Arial"/>
                <a:cs typeface="Arial"/>
              </a:rPr>
              <a:t>eme</a:t>
            </a:r>
            <a:r>
              <a:rPr sz="673" b="1" spc="-10" dirty="0">
                <a:solidFill>
                  <a:srgbClr val="FFFFFF"/>
                </a:solidFill>
                <a:latin typeface="Arial"/>
                <a:cs typeface="Arial"/>
              </a:rPr>
              <a:t>n</a:t>
            </a:r>
            <a:r>
              <a:rPr sz="673" b="1" dirty="0">
                <a:solidFill>
                  <a:srgbClr val="FFFFFF"/>
                </a:solidFill>
                <a:latin typeface="Arial"/>
                <a:cs typeface="Arial"/>
              </a:rPr>
              <a:t>t  en </a:t>
            </a:r>
            <a:r>
              <a:rPr sz="673" b="1" spc="-3" dirty="0">
                <a:solidFill>
                  <a:srgbClr val="FFFFFF"/>
                </a:solidFill>
                <a:latin typeface="Arial"/>
                <a:cs typeface="Arial"/>
              </a:rPr>
              <a:t>électricité  </a:t>
            </a:r>
            <a:r>
              <a:rPr sz="673" b="1" dirty="0">
                <a:solidFill>
                  <a:srgbClr val="FFFFFF"/>
                </a:solidFill>
                <a:latin typeface="Arial"/>
                <a:cs typeface="Arial"/>
              </a:rPr>
              <a:t>renouvelable</a:t>
            </a:r>
            <a:endParaRPr sz="673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0" name="object 60">
            <a:extLst>
              <a:ext uri="{FF2B5EF4-FFF2-40B4-BE49-F238E27FC236}">
                <a16:creationId xmlns:a16="http://schemas.microsoft.com/office/drawing/2014/main" id="{DE8849B3-DB1C-5BCA-B14D-8FB6E5091244}"/>
              </a:ext>
            </a:extLst>
          </p:cNvPr>
          <p:cNvSpPr txBox="1"/>
          <p:nvPr/>
        </p:nvSpPr>
        <p:spPr>
          <a:xfrm>
            <a:off x="469817" y="3918906"/>
            <a:ext cx="1437166" cy="224208"/>
          </a:xfrm>
          <a:prstGeom prst="rect">
            <a:avLst/>
          </a:prstGeom>
          <a:solidFill>
            <a:srgbClr val="FFCD00"/>
          </a:solidFill>
        </p:spPr>
        <p:txBody>
          <a:bodyPr vert="horz" wrap="square" lIns="0" tIns="69640" rIns="0" bIns="0" rtlCol="0">
            <a:spAutoFit/>
          </a:bodyPr>
          <a:lstStyle/>
          <a:p>
            <a:pPr marL="23212" defTabSz="586380">
              <a:spcBef>
                <a:spcPts val="547"/>
              </a:spcBef>
            </a:pPr>
            <a:r>
              <a:rPr sz="1000" spc="-3" dirty="0">
                <a:solidFill>
                  <a:srgbClr val="574641"/>
                </a:solidFill>
                <a:latin typeface="Arial"/>
                <a:cs typeface="Arial"/>
              </a:rPr>
              <a:t>Type de</a:t>
            </a:r>
            <a:r>
              <a:rPr sz="1000" spc="-19" dirty="0">
                <a:solidFill>
                  <a:srgbClr val="574641"/>
                </a:solidFill>
                <a:latin typeface="Arial"/>
                <a:cs typeface="Arial"/>
              </a:rPr>
              <a:t> </a:t>
            </a:r>
            <a:r>
              <a:rPr sz="1000" dirty="0">
                <a:solidFill>
                  <a:srgbClr val="574641"/>
                </a:solidFill>
                <a:latin typeface="Arial"/>
                <a:cs typeface="Arial"/>
              </a:rPr>
              <a:t>contrat</a:t>
            </a:r>
            <a:endParaRPr sz="10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1" name="object 61">
            <a:extLst>
              <a:ext uri="{FF2B5EF4-FFF2-40B4-BE49-F238E27FC236}">
                <a16:creationId xmlns:a16="http://schemas.microsoft.com/office/drawing/2014/main" id="{E86BFA37-1185-D7A3-2A7B-B9A1486E1763}"/>
              </a:ext>
            </a:extLst>
          </p:cNvPr>
          <p:cNvSpPr txBox="1"/>
          <p:nvPr/>
        </p:nvSpPr>
        <p:spPr>
          <a:xfrm>
            <a:off x="1939372" y="3901625"/>
            <a:ext cx="2810516" cy="179384"/>
          </a:xfrm>
          <a:prstGeom prst="rect">
            <a:avLst/>
          </a:prstGeom>
          <a:ln w="3175">
            <a:solidFill>
              <a:srgbClr val="786D63"/>
            </a:solidFill>
          </a:ln>
        </p:spPr>
        <p:txBody>
          <a:bodyPr vert="horz" wrap="square" lIns="0" tIns="25249" rIns="0" bIns="0" rtlCol="0">
            <a:spAutoFit/>
          </a:bodyPr>
          <a:lstStyle/>
          <a:p>
            <a:pPr marL="58637" defTabSz="586380">
              <a:spcBef>
                <a:spcPts val="199"/>
              </a:spcBef>
            </a:pPr>
            <a:r>
              <a:rPr sz="1000" spc="-3" dirty="0">
                <a:solidFill>
                  <a:srgbClr val="574641"/>
                </a:solidFill>
                <a:latin typeface="Arial"/>
                <a:cs typeface="Arial"/>
              </a:rPr>
              <a:t>Physique </a:t>
            </a:r>
            <a:r>
              <a:rPr sz="1000" dirty="0">
                <a:solidFill>
                  <a:srgbClr val="574641"/>
                </a:solidFill>
                <a:latin typeface="Arial"/>
                <a:cs typeface="Arial"/>
              </a:rPr>
              <a:t>mono-vendeur</a:t>
            </a:r>
            <a:r>
              <a:rPr sz="1000" baseline="27777" dirty="0">
                <a:solidFill>
                  <a:srgbClr val="574641"/>
                </a:solidFill>
                <a:latin typeface="Arial"/>
                <a:cs typeface="Arial"/>
              </a:rPr>
              <a:t>1 </a:t>
            </a:r>
            <a:r>
              <a:rPr sz="1000" dirty="0">
                <a:solidFill>
                  <a:srgbClr val="574641"/>
                </a:solidFill>
                <a:latin typeface="Arial"/>
                <a:cs typeface="Arial"/>
              </a:rPr>
              <a:t>et</a:t>
            </a:r>
            <a:r>
              <a:rPr sz="1000" spc="13" dirty="0">
                <a:solidFill>
                  <a:srgbClr val="574641"/>
                </a:solidFill>
                <a:latin typeface="Arial"/>
                <a:cs typeface="Arial"/>
              </a:rPr>
              <a:t> </a:t>
            </a:r>
            <a:r>
              <a:rPr sz="1000" dirty="0">
                <a:solidFill>
                  <a:srgbClr val="574641"/>
                </a:solidFill>
                <a:latin typeface="Arial"/>
                <a:cs typeface="Arial"/>
              </a:rPr>
              <a:t>mono-</a:t>
            </a:r>
            <a:r>
              <a:rPr sz="1000" dirty="0" err="1">
                <a:solidFill>
                  <a:srgbClr val="574641"/>
                </a:solidFill>
                <a:latin typeface="Arial"/>
                <a:cs typeface="Arial"/>
              </a:rPr>
              <a:t>acheteur</a:t>
            </a:r>
            <a:endParaRPr sz="10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2" name="object 62">
            <a:extLst>
              <a:ext uri="{FF2B5EF4-FFF2-40B4-BE49-F238E27FC236}">
                <a16:creationId xmlns:a16="http://schemas.microsoft.com/office/drawing/2014/main" id="{B5D61D5C-8245-1646-EC3D-1240F9CA403B}"/>
              </a:ext>
            </a:extLst>
          </p:cNvPr>
          <p:cNvSpPr txBox="1"/>
          <p:nvPr/>
        </p:nvSpPr>
        <p:spPr>
          <a:xfrm>
            <a:off x="469817" y="4209695"/>
            <a:ext cx="1437166" cy="334506"/>
          </a:xfrm>
          <a:prstGeom prst="rect">
            <a:avLst/>
          </a:prstGeom>
          <a:solidFill>
            <a:srgbClr val="FFCD00"/>
          </a:solidFill>
        </p:spPr>
        <p:txBody>
          <a:bodyPr vert="horz" wrap="square" lIns="0" tIns="26471" rIns="0" bIns="0" rtlCol="0">
            <a:spAutoFit/>
          </a:bodyPr>
          <a:lstStyle/>
          <a:p>
            <a:pPr marL="23212" marR="47644" defTabSz="586380">
              <a:spcBef>
                <a:spcPts val="208"/>
              </a:spcBef>
            </a:pPr>
            <a:r>
              <a:rPr sz="1000" spc="-3" dirty="0">
                <a:solidFill>
                  <a:srgbClr val="574641"/>
                </a:solidFill>
                <a:latin typeface="Arial"/>
                <a:cs typeface="Arial"/>
              </a:rPr>
              <a:t>Nouveaux</a:t>
            </a:r>
            <a:r>
              <a:rPr sz="1000" spc="-48" dirty="0">
                <a:solidFill>
                  <a:srgbClr val="574641"/>
                </a:solidFill>
                <a:latin typeface="Arial"/>
                <a:cs typeface="Arial"/>
              </a:rPr>
              <a:t> </a:t>
            </a:r>
            <a:r>
              <a:rPr sz="1000" dirty="0">
                <a:solidFill>
                  <a:srgbClr val="574641"/>
                </a:solidFill>
                <a:latin typeface="Arial"/>
                <a:cs typeface="Arial"/>
              </a:rPr>
              <a:t>actifs  </a:t>
            </a:r>
            <a:r>
              <a:rPr sz="1000" spc="-3" dirty="0">
                <a:solidFill>
                  <a:srgbClr val="574641"/>
                </a:solidFill>
                <a:latin typeface="Arial"/>
                <a:cs typeface="Arial"/>
              </a:rPr>
              <a:t>de</a:t>
            </a:r>
            <a:r>
              <a:rPr sz="1000" spc="-19" dirty="0">
                <a:solidFill>
                  <a:srgbClr val="574641"/>
                </a:solidFill>
                <a:latin typeface="Arial"/>
                <a:cs typeface="Arial"/>
              </a:rPr>
              <a:t> </a:t>
            </a:r>
            <a:r>
              <a:rPr sz="1000" dirty="0">
                <a:solidFill>
                  <a:srgbClr val="574641"/>
                </a:solidFill>
                <a:latin typeface="Arial"/>
                <a:cs typeface="Arial"/>
              </a:rPr>
              <a:t>production</a:t>
            </a:r>
            <a:endParaRPr sz="10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3" name="object 63">
            <a:extLst>
              <a:ext uri="{FF2B5EF4-FFF2-40B4-BE49-F238E27FC236}">
                <a16:creationId xmlns:a16="http://schemas.microsoft.com/office/drawing/2014/main" id="{33A36F8D-EF26-EFA3-43CF-6D18E2B2936C}"/>
              </a:ext>
            </a:extLst>
          </p:cNvPr>
          <p:cNvSpPr txBox="1"/>
          <p:nvPr/>
        </p:nvSpPr>
        <p:spPr>
          <a:xfrm>
            <a:off x="1939371" y="4209481"/>
            <a:ext cx="2810516" cy="331627"/>
          </a:xfrm>
          <a:prstGeom prst="rect">
            <a:avLst/>
          </a:prstGeom>
          <a:ln w="3175">
            <a:solidFill>
              <a:srgbClr val="786D63"/>
            </a:solidFill>
          </a:ln>
        </p:spPr>
        <p:txBody>
          <a:bodyPr vert="horz" wrap="square" lIns="0" tIns="23620" rIns="0" bIns="0" rtlCol="0">
            <a:spAutoFit/>
          </a:bodyPr>
          <a:lstStyle/>
          <a:p>
            <a:pPr marL="58637" defTabSz="586380">
              <a:spcBef>
                <a:spcPts val="186"/>
              </a:spcBef>
            </a:pPr>
            <a:r>
              <a:rPr sz="1000" spc="-3" dirty="0">
                <a:solidFill>
                  <a:srgbClr val="574641"/>
                </a:solidFill>
                <a:latin typeface="Arial"/>
                <a:cs typeface="Arial"/>
              </a:rPr>
              <a:t>Nouvelles  </a:t>
            </a:r>
            <a:r>
              <a:rPr sz="1000" spc="-3" dirty="0" err="1">
                <a:solidFill>
                  <a:srgbClr val="574641"/>
                </a:solidFill>
                <a:latin typeface="Arial"/>
                <a:cs typeface="Arial"/>
              </a:rPr>
              <a:t>centrales</a:t>
            </a:r>
            <a:r>
              <a:rPr sz="1000" spc="-3" dirty="0">
                <a:solidFill>
                  <a:srgbClr val="574641"/>
                </a:solidFill>
                <a:latin typeface="Arial"/>
                <a:cs typeface="Arial"/>
              </a:rPr>
              <a:t> </a:t>
            </a:r>
            <a:r>
              <a:rPr sz="1000" spc="29" dirty="0">
                <a:solidFill>
                  <a:srgbClr val="574641"/>
                </a:solidFill>
                <a:latin typeface="Arial"/>
                <a:cs typeface="Arial"/>
              </a:rPr>
              <a:t> </a:t>
            </a:r>
            <a:r>
              <a:rPr sz="1000" spc="-3" dirty="0" err="1">
                <a:solidFill>
                  <a:srgbClr val="574641"/>
                </a:solidFill>
                <a:latin typeface="Arial"/>
                <a:cs typeface="Arial"/>
              </a:rPr>
              <a:t>photovoltaïques</a:t>
            </a:r>
            <a:r>
              <a:rPr lang="fr-FR" sz="1000" spc="-3" dirty="0">
                <a:solidFill>
                  <a:srgbClr val="574641"/>
                </a:solidFill>
                <a:latin typeface="Arial"/>
                <a:cs typeface="Arial"/>
              </a:rPr>
              <a:t> </a:t>
            </a:r>
            <a:r>
              <a:rPr sz="1000" dirty="0" err="1">
                <a:solidFill>
                  <a:srgbClr val="574641"/>
                </a:solidFill>
                <a:latin typeface="Arial"/>
                <a:cs typeface="Arial"/>
              </a:rPr>
              <a:t>ou</a:t>
            </a:r>
            <a:r>
              <a:rPr sz="1000" dirty="0">
                <a:solidFill>
                  <a:srgbClr val="574641"/>
                </a:solidFill>
                <a:latin typeface="Arial"/>
                <a:cs typeface="Arial"/>
              </a:rPr>
              <a:t> éoliennes terrestres en</a:t>
            </a:r>
            <a:r>
              <a:rPr sz="1000" spc="-82" dirty="0">
                <a:solidFill>
                  <a:srgbClr val="574641"/>
                </a:solidFill>
                <a:latin typeface="Arial"/>
                <a:cs typeface="Arial"/>
              </a:rPr>
              <a:t> </a:t>
            </a:r>
            <a:r>
              <a:rPr sz="1000" dirty="0">
                <a:solidFill>
                  <a:srgbClr val="574641"/>
                </a:solidFill>
                <a:latin typeface="Arial"/>
                <a:cs typeface="Arial"/>
              </a:rPr>
              <a:t>métropole</a:t>
            </a:r>
            <a:r>
              <a:rPr sz="1000" baseline="27777" dirty="0">
                <a:solidFill>
                  <a:srgbClr val="574641"/>
                </a:solidFill>
                <a:latin typeface="Arial"/>
                <a:cs typeface="Arial"/>
              </a:rPr>
              <a:t>2</a:t>
            </a:r>
            <a:endParaRPr sz="1000" baseline="27777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4" name="object 64">
            <a:extLst>
              <a:ext uri="{FF2B5EF4-FFF2-40B4-BE49-F238E27FC236}">
                <a16:creationId xmlns:a16="http://schemas.microsoft.com/office/drawing/2014/main" id="{DC2F2016-51FE-A7CC-67B6-08DC25405F9E}"/>
              </a:ext>
            </a:extLst>
          </p:cNvPr>
          <p:cNvSpPr txBox="1"/>
          <p:nvPr/>
        </p:nvSpPr>
        <p:spPr>
          <a:xfrm>
            <a:off x="464711" y="4636451"/>
            <a:ext cx="1437166" cy="201179"/>
          </a:xfrm>
          <a:prstGeom prst="rect">
            <a:avLst/>
          </a:prstGeom>
          <a:solidFill>
            <a:srgbClr val="FFCD00"/>
          </a:solidFill>
        </p:spPr>
        <p:txBody>
          <a:bodyPr vert="horz" wrap="square" lIns="0" tIns="46833" rIns="0" bIns="0" rtlCol="0">
            <a:spAutoFit/>
          </a:bodyPr>
          <a:lstStyle/>
          <a:p>
            <a:pPr marL="23212" defTabSz="586380">
              <a:spcBef>
                <a:spcPts val="368"/>
              </a:spcBef>
            </a:pPr>
            <a:r>
              <a:rPr sz="1000" spc="-3" dirty="0">
                <a:solidFill>
                  <a:srgbClr val="574641"/>
                </a:solidFill>
                <a:latin typeface="Arial"/>
                <a:cs typeface="Arial"/>
              </a:rPr>
              <a:t>Durée</a:t>
            </a:r>
            <a:endParaRPr sz="10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5" name="object 65">
            <a:extLst>
              <a:ext uri="{FF2B5EF4-FFF2-40B4-BE49-F238E27FC236}">
                <a16:creationId xmlns:a16="http://schemas.microsoft.com/office/drawing/2014/main" id="{868B46B6-C2BC-2A77-3146-D6A51B96DA14}"/>
              </a:ext>
            </a:extLst>
          </p:cNvPr>
          <p:cNvSpPr txBox="1"/>
          <p:nvPr/>
        </p:nvSpPr>
        <p:spPr>
          <a:xfrm>
            <a:off x="1939372" y="4626499"/>
            <a:ext cx="2810516" cy="201179"/>
          </a:xfrm>
          <a:prstGeom prst="rect">
            <a:avLst/>
          </a:prstGeom>
          <a:ln w="3175">
            <a:solidFill>
              <a:srgbClr val="786D63"/>
            </a:solidFill>
          </a:ln>
        </p:spPr>
        <p:txBody>
          <a:bodyPr vert="horz" wrap="square" lIns="0" tIns="46833" rIns="0" bIns="0" rtlCol="0">
            <a:spAutoFit/>
          </a:bodyPr>
          <a:lstStyle/>
          <a:p>
            <a:pPr marL="58637" defTabSz="586380">
              <a:spcBef>
                <a:spcPts val="368"/>
              </a:spcBef>
            </a:pPr>
            <a:r>
              <a:rPr sz="1000" spc="-3" dirty="0">
                <a:solidFill>
                  <a:srgbClr val="574641"/>
                </a:solidFill>
                <a:latin typeface="Arial"/>
                <a:cs typeface="Arial"/>
              </a:rPr>
              <a:t>10 ans</a:t>
            </a:r>
            <a:r>
              <a:rPr sz="1000" spc="-10" dirty="0">
                <a:solidFill>
                  <a:srgbClr val="574641"/>
                </a:solidFill>
                <a:latin typeface="Arial"/>
                <a:cs typeface="Arial"/>
              </a:rPr>
              <a:t> </a:t>
            </a:r>
            <a:r>
              <a:rPr sz="1000" dirty="0">
                <a:solidFill>
                  <a:srgbClr val="574641"/>
                </a:solidFill>
                <a:latin typeface="Arial"/>
                <a:cs typeface="Arial"/>
              </a:rPr>
              <a:t>minimum</a:t>
            </a:r>
            <a:endParaRPr sz="10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6" name="object 66">
            <a:extLst>
              <a:ext uri="{FF2B5EF4-FFF2-40B4-BE49-F238E27FC236}">
                <a16:creationId xmlns:a16="http://schemas.microsoft.com/office/drawing/2014/main" id="{0B4ECB29-2C25-1FDB-AA21-9383CA111329}"/>
              </a:ext>
            </a:extLst>
          </p:cNvPr>
          <p:cNvSpPr txBox="1"/>
          <p:nvPr/>
        </p:nvSpPr>
        <p:spPr>
          <a:xfrm>
            <a:off x="464711" y="4903422"/>
            <a:ext cx="1437166" cy="310243"/>
          </a:xfrm>
          <a:prstGeom prst="rect">
            <a:avLst/>
          </a:prstGeom>
          <a:solidFill>
            <a:srgbClr val="FFCD00"/>
          </a:solidFill>
        </p:spPr>
        <p:txBody>
          <a:bodyPr vert="horz" wrap="square" lIns="0" tIns="2443" rIns="0" bIns="0" rtlCol="0">
            <a:spAutoFit/>
          </a:bodyPr>
          <a:lstStyle/>
          <a:p>
            <a:pPr marL="23212" marR="104653" defTabSz="586380">
              <a:spcBef>
                <a:spcPts val="19"/>
              </a:spcBef>
            </a:pPr>
            <a:r>
              <a:rPr sz="1000" dirty="0">
                <a:solidFill>
                  <a:srgbClr val="574641"/>
                </a:solidFill>
                <a:latin typeface="Arial"/>
                <a:cs typeface="Arial"/>
              </a:rPr>
              <a:t>Volume min.  </a:t>
            </a:r>
            <a:r>
              <a:rPr sz="1000" spc="-3" dirty="0">
                <a:solidFill>
                  <a:srgbClr val="574641"/>
                </a:solidFill>
                <a:latin typeface="Arial"/>
                <a:cs typeface="Arial"/>
              </a:rPr>
              <a:t>annuel</a:t>
            </a:r>
            <a:r>
              <a:rPr sz="1000" spc="-35" dirty="0">
                <a:solidFill>
                  <a:srgbClr val="574641"/>
                </a:solidFill>
                <a:latin typeface="Arial"/>
                <a:cs typeface="Arial"/>
              </a:rPr>
              <a:t> </a:t>
            </a:r>
            <a:r>
              <a:rPr sz="1000" spc="-3" dirty="0">
                <a:solidFill>
                  <a:srgbClr val="574641"/>
                </a:solidFill>
                <a:latin typeface="Arial"/>
                <a:cs typeface="Arial"/>
              </a:rPr>
              <a:t>garanti</a:t>
            </a:r>
            <a:endParaRPr sz="10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7" name="object 67">
            <a:extLst>
              <a:ext uri="{FF2B5EF4-FFF2-40B4-BE49-F238E27FC236}">
                <a16:creationId xmlns:a16="http://schemas.microsoft.com/office/drawing/2014/main" id="{3C6F77E2-2932-442B-C7F0-2570237B04FC}"/>
              </a:ext>
            </a:extLst>
          </p:cNvPr>
          <p:cNvSpPr txBox="1"/>
          <p:nvPr/>
        </p:nvSpPr>
        <p:spPr>
          <a:xfrm>
            <a:off x="1995338" y="4971653"/>
            <a:ext cx="2754549" cy="201179"/>
          </a:xfrm>
          <a:prstGeom prst="rect">
            <a:avLst/>
          </a:prstGeom>
          <a:ln w="3175">
            <a:solidFill>
              <a:srgbClr val="786D63"/>
            </a:solidFill>
          </a:ln>
        </p:spPr>
        <p:txBody>
          <a:bodyPr vert="horz" wrap="square" lIns="0" tIns="46426" rIns="0" bIns="0" rtlCol="0">
            <a:spAutoFit/>
          </a:bodyPr>
          <a:lstStyle/>
          <a:p>
            <a:pPr marL="58637" defTabSz="586380">
              <a:spcBef>
                <a:spcPts val="365"/>
              </a:spcBef>
            </a:pPr>
            <a:r>
              <a:rPr sz="1000" spc="-3" dirty="0">
                <a:solidFill>
                  <a:srgbClr val="574641"/>
                </a:solidFill>
                <a:latin typeface="Arial"/>
                <a:cs typeface="Arial"/>
              </a:rPr>
              <a:t>10</a:t>
            </a:r>
            <a:r>
              <a:rPr sz="1000" spc="-10" dirty="0">
                <a:solidFill>
                  <a:srgbClr val="574641"/>
                </a:solidFill>
                <a:latin typeface="Arial"/>
                <a:cs typeface="Arial"/>
              </a:rPr>
              <a:t> </a:t>
            </a:r>
            <a:r>
              <a:rPr sz="1000" spc="6" dirty="0">
                <a:solidFill>
                  <a:srgbClr val="574641"/>
                </a:solidFill>
                <a:latin typeface="Arial"/>
                <a:cs typeface="Arial"/>
              </a:rPr>
              <a:t>GWh</a:t>
            </a:r>
            <a:endParaRPr sz="10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8" name="object 68">
            <a:extLst>
              <a:ext uri="{FF2B5EF4-FFF2-40B4-BE49-F238E27FC236}">
                <a16:creationId xmlns:a16="http://schemas.microsoft.com/office/drawing/2014/main" id="{DE27D662-2220-BA3B-AF42-4BC6BA81F5D5}"/>
              </a:ext>
            </a:extLst>
          </p:cNvPr>
          <p:cNvSpPr txBox="1"/>
          <p:nvPr/>
        </p:nvSpPr>
        <p:spPr>
          <a:xfrm>
            <a:off x="515301" y="5309594"/>
            <a:ext cx="4437699" cy="623778"/>
          </a:xfrm>
          <a:prstGeom prst="rect">
            <a:avLst/>
          </a:prstGeom>
        </p:spPr>
        <p:txBody>
          <a:bodyPr vert="horz" wrap="square" lIns="0" tIns="8145" rIns="0" bIns="0" rtlCol="0">
            <a:spAutoFit/>
          </a:bodyPr>
          <a:lstStyle/>
          <a:p>
            <a:pPr marL="61895" indent="-53752" algn="just" defTabSz="586380">
              <a:spcBef>
                <a:spcPts val="64"/>
              </a:spcBef>
              <a:buFontTx/>
              <a:buAutoNum type="arabicPeriod"/>
              <a:tabLst>
                <a:tab pos="61895" algn="l"/>
              </a:tabLst>
            </a:pPr>
            <a:r>
              <a:rPr sz="1000" i="1" spc="-3" dirty="0">
                <a:solidFill>
                  <a:srgbClr val="574641"/>
                </a:solidFill>
                <a:latin typeface="Arial"/>
                <a:cs typeface="Arial"/>
              </a:rPr>
              <a:t>ou plusieurs SPV </a:t>
            </a:r>
            <a:r>
              <a:rPr sz="1000" i="1" dirty="0">
                <a:solidFill>
                  <a:srgbClr val="574641"/>
                </a:solidFill>
                <a:latin typeface="Arial"/>
                <a:cs typeface="Arial"/>
              </a:rPr>
              <a:t>si </a:t>
            </a:r>
            <a:r>
              <a:rPr sz="1000" i="1" spc="-3" dirty="0">
                <a:solidFill>
                  <a:srgbClr val="574641"/>
                </a:solidFill>
                <a:latin typeface="Arial"/>
                <a:cs typeface="Arial"/>
              </a:rPr>
              <a:t>elles émanent d’un </a:t>
            </a:r>
            <a:r>
              <a:rPr sz="1000" i="1" dirty="0">
                <a:solidFill>
                  <a:srgbClr val="574641"/>
                </a:solidFill>
                <a:latin typeface="Arial"/>
                <a:cs typeface="Arial"/>
              </a:rPr>
              <a:t>même</a:t>
            </a:r>
            <a:r>
              <a:rPr sz="1000" i="1" spc="35" dirty="0">
                <a:solidFill>
                  <a:srgbClr val="574641"/>
                </a:solidFill>
                <a:latin typeface="Arial"/>
                <a:cs typeface="Arial"/>
              </a:rPr>
              <a:t> </a:t>
            </a:r>
            <a:r>
              <a:rPr sz="1000" i="1" dirty="0">
                <a:solidFill>
                  <a:srgbClr val="574641"/>
                </a:solidFill>
                <a:latin typeface="Arial"/>
                <a:cs typeface="Arial"/>
              </a:rPr>
              <a:t>Groupe.</a:t>
            </a:r>
            <a:endParaRPr sz="1000" dirty="0">
              <a:solidFill>
                <a:prstClr val="black"/>
              </a:solidFill>
              <a:latin typeface="Arial"/>
              <a:cs typeface="Arial"/>
            </a:endParaRPr>
          </a:p>
          <a:p>
            <a:pPr marL="8145" marR="3259" algn="just" defTabSz="586380">
              <a:buFontTx/>
              <a:buAutoNum type="arabicPeriod"/>
              <a:tabLst>
                <a:tab pos="76555" algn="l"/>
              </a:tabLst>
            </a:pPr>
            <a:r>
              <a:rPr sz="1000" i="1" spc="-3" dirty="0">
                <a:solidFill>
                  <a:srgbClr val="574641"/>
                </a:solidFill>
                <a:latin typeface="Arial"/>
                <a:cs typeface="Arial"/>
              </a:rPr>
              <a:t>ou installations, </a:t>
            </a:r>
            <a:r>
              <a:rPr sz="1000" i="1" dirty="0">
                <a:solidFill>
                  <a:srgbClr val="574641"/>
                </a:solidFill>
                <a:latin typeface="Arial"/>
                <a:cs typeface="Arial"/>
              </a:rPr>
              <a:t>y </a:t>
            </a:r>
            <a:r>
              <a:rPr sz="1000" i="1" spc="-3" dirty="0">
                <a:solidFill>
                  <a:srgbClr val="574641"/>
                </a:solidFill>
                <a:latin typeface="Arial"/>
                <a:cs typeface="Arial"/>
              </a:rPr>
              <a:t>compris repowering, </a:t>
            </a:r>
            <a:r>
              <a:rPr sz="1000" i="1" dirty="0">
                <a:solidFill>
                  <a:srgbClr val="574641"/>
                </a:solidFill>
                <a:latin typeface="Arial"/>
                <a:cs typeface="Arial"/>
              </a:rPr>
              <a:t>dont </a:t>
            </a:r>
            <a:r>
              <a:rPr sz="1000" i="1" spc="-3" dirty="0">
                <a:solidFill>
                  <a:srgbClr val="574641"/>
                </a:solidFill>
                <a:latin typeface="Arial"/>
                <a:cs typeface="Arial"/>
              </a:rPr>
              <a:t>la mise en service industrielle </a:t>
            </a:r>
            <a:r>
              <a:rPr sz="1000" i="1" dirty="0">
                <a:solidFill>
                  <a:srgbClr val="574641"/>
                </a:solidFill>
                <a:latin typeface="Arial"/>
                <a:cs typeface="Arial"/>
              </a:rPr>
              <a:t>(date </a:t>
            </a:r>
            <a:r>
              <a:rPr sz="1000" i="1" spc="-3" dirty="0">
                <a:solidFill>
                  <a:srgbClr val="574641"/>
                </a:solidFill>
                <a:latin typeface="Arial"/>
                <a:cs typeface="Arial"/>
              </a:rPr>
              <a:t>à  </a:t>
            </a:r>
            <a:r>
              <a:rPr sz="1000" i="1" dirty="0">
                <a:solidFill>
                  <a:srgbClr val="574641"/>
                </a:solidFill>
                <a:latin typeface="Arial"/>
                <a:cs typeface="Arial"/>
              </a:rPr>
              <a:t>laquelle </a:t>
            </a:r>
            <a:r>
              <a:rPr sz="1000" i="1" spc="-3" dirty="0">
                <a:solidFill>
                  <a:srgbClr val="574641"/>
                </a:solidFill>
                <a:latin typeface="Arial"/>
                <a:cs typeface="Arial"/>
              </a:rPr>
              <a:t>la </a:t>
            </a:r>
            <a:r>
              <a:rPr sz="1000" i="1" dirty="0">
                <a:solidFill>
                  <a:srgbClr val="574641"/>
                </a:solidFill>
                <a:latin typeface="Arial"/>
                <a:cs typeface="Arial"/>
              </a:rPr>
              <a:t>livraison </a:t>
            </a:r>
            <a:r>
              <a:rPr sz="1000" i="1" spc="-3" dirty="0">
                <a:solidFill>
                  <a:srgbClr val="574641"/>
                </a:solidFill>
                <a:latin typeface="Arial"/>
                <a:cs typeface="Arial"/>
              </a:rPr>
              <a:t>d'électricité </a:t>
            </a:r>
            <a:r>
              <a:rPr sz="1000" i="1" dirty="0">
                <a:solidFill>
                  <a:srgbClr val="574641"/>
                </a:solidFill>
                <a:latin typeface="Arial"/>
                <a:cs typeface="Arial"/>
              </a:rPr>
              <a:t>est </a:t>
            </a:r>
            <a:r>
              <a:rPr sz="1000" i="1" spc="-3" dirty="0">
                <a:solidFill>
                  <a:srgbClr val="574641"/>
                </a:solidFill>
                <a:latin typeface="Arial"/>
                <a:cs typeface="Arial"/>
              </a:rPr>
              <a:t>effectuée pour la première fois au titre d'un  </a:t>
            </a:r>
            <a:r>
              <a:rPr sz="1000" i="1" dirty="0">
                <a:solidFill>
                  <a:srgbClr val="574641"/>
                </a:solidFill>
                <a:latin typeface="Arial"/>
                <a:cs typeface="Arial"/>
              </a:rPr>
              <a:t>contrat </a:t>
            </a:r>
            <a:r>
              <a:rPr sz="1000" i="1" spc="-3" dirty="0">
                <a:solidFill>
                  <a:srgbClr val="574641"/>
                </a:solidFill>
                <a:latin typeface="Arial"/>
                <a:cs typeface="Arial"/>
              </a:rPr>
              <a:t>d’achat </a:t>
            </a:r>
            <a:r>
              <a:rPr sz="1000" i="1" dirty="0">
                <a:solidFill>
                  <a:srgbClr val="574641"/>
                </a:solidFill>
                <a:latin typeface="Arial"/>
                <a:cs typeface="Arial"/>
              </a:rPr>
              <a:t>long terme) </a:t>
            </a:r>
            <a:r>
              <a:rPr sz="1000" i="1" spc="-3" dirty="0">
                <a:solidFill>
                  <a:srgbClr val="574641"/>
                </a:solidFill>
                <a:latin typeface="Arial"/>
                <a:cs typeface="Arial"/>
              </a:rPr>
              <a:t>n’est </a:t>
            </a:r>
            <a:r>
              <a:rPr sz="1000" i="1" dirty="0">
                <a:solidFill>
                  <a:srgbClr val="574641"/>
                </a:solidFill>
                <a:latin typeface="Arial"/>
                <a:cs typeface="Arial"/>
              </a:rPr>
              <a:t>pas encore</a:t>
            </a:r>
            <a:r>
              <a:rPr sz="1000" i="1" spc="-13" dirty="0">
                <a:solidFill>
                  <a:srgbClr val="574641"/>
                </a:solidFill>
                <a:latin typeface="Arial"/>
                <a:cs typeface="Arial"/>
              </a:rPr>
              <a:t> </a:t>
            </a:r>
            <a:r>
              <a:rPr sz="1000" i="1" spc="-3" dirty="0">
                <a:solidFill>
                  <a:srgbClr val="574641"/>
                </a:solidFill>
                <a:latin typeface="Arial"/>
                <a:cs typeface="Arial"/>
              </a:rPr>
              <a:t>intervenue.</a:t>
            </a:r>
            <a:endParaRPr sz="10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9" name="object 70">
            <a:extLst>
              <a:ext uri="{FF2B5EF4-FFF2-40B4-BE49-F238E27FC236}">
                <a16:creationId xmlns:a16="http://schemas.microsoft.com/office/drawing/2014/main" id="{96D4DB67-1152-CFDE-9CF0-0DE6A7BE9F0E}"/>
              </a:ext>
            </a:extLst>
          </p:cNvPr>
          <p:cNvSpPr txBox="1"/>
          <p:nvPr/>
        </p:nvSpPr>
        <p:spPr>
          <a:xfrm>
            <a:off x="515301" y="2324763"/>
            <a:ext cx="4392137" cy="820024"/>
          </a:xfrm>
          <a:prstGeom prst="rect">
            <a:avLst/>
          </a:prstGeom>
        </p:spPr>
        <p:txBody>
          <a:bodyPr vert="horz" wrap="square" lIns="0" tIns="7738" rIns="0" bIns="0" rtlCol="0">
            <a:spAutoFit/>
          </a:bodyPr>
          <a:lstStyle/>
          <a:p>
            <a:pPr marL="175913" defTabSz="586380">
              <a:spcBef>
                <a:spcPts val="61"/>
              </a:spcBef>
            </a:pPr>
            <a:r>
              <a:rPr sz="1400" spc="-6" dirty="0">
                <a:solidFill>
                  <a:srgbClr val="574641"/>
                </a:solidFill>
                <a:latin typeface="Impact"/>
                <a:cs typeface="Impact"/>
              </a:rPr>
              <a:t>BÉNÉFICIAIRES</a:t>
            </a:r>
            <a:endParaRPr sz="1400" dirty="0">
              <a:solidFill>
                <a:prstClr val="black"/>
              </a:solidFill>
              <a:latin typeface="Impact"/>
              <a:cs typeface="Impact"/>
            </a:endParaRPr>
          </a:p>
          <a:p>
            <a:pPr marL="8145" marR="3259" algn="just" defTabSz="586380">
              <a:lnSpc>
                <a:spcPct val="101899"/>
              </a:lnSpc>
              <a:spcBef>
                <a:spcPts val="683"/>
              </a:spcBef>
            </a:pPr>
            <a:r>
              <a:rPr sz="1100" spc="-3" dirty="0">
                <a:solidFill>
                  <a:srgbClr val="574641"/>
                </a:solidFill>
                <a:latin typeface="Arial"/>
                <a:cs typeface="Arial"/>
              </a:rPr>
              <a:t>Les bénéficiaires </a:t>
            </a:r>
            <a:r>
              <a:rPr sz="1100" spc="-6" dirty="0">
                <a:solidFill>
                  <a:srgbClr val="574641"/>
                </a:solidFill>
                <a:latin typeface="Arial"/>
                <a:cs typeface="Arial"/>
              </a:rPr>
              <a:t>de </a:t>
            </a:r>
            <a:r>
              <a:rPr sz="1100" spc="-3" dirty="0">
                <a:solidFill>
                  <a:srgbClr val="574641"/>
                </a:solidFill>
                <a:latin typeface="Arial"/>
                <a:cs typeface="Arial"/>
              </a:rPr>
              <a:t>la garantie </a:t>
            </a:r>
            <a:r>
              <a:rPr sz="1100" dirty="0">
                <a:solidFill>
                  <a:srgbClr val="574641"/>
                </a:solidFill>
                <a:latin typeface="Arial"/>
                <a:cs typeface="Arial"/>
              </a:rPr>
              <a:t>sont </a:t>
            </a:r>
            <a:r>
              <a:rPr sz="1100" spc="-3" dirty="0">
                <a:solidFill>
                  <a:srgbClr val="574641"/>
                </a:solidFill>
                <a:latin typeface="Arial"/>
                <a:cs typeface="Arial"/>
              </a:rPr>
              <a:t>les </a:t>
            </a:r>
            <a:r>
              <a:rPr sz="1100" b="1" spc="-3" dirty="0">
                <a:solidFill>
                  <a:srgbClr val="574641"/>
                </a:solidFill>
                <a:latin typeface="Arial"/>
                <a:cs typeface="Arial"/>
              </a:rPr>
              <a:t>producteurs  d’électricité </a:t>
            </a:r>
            <a:r>
              <a:rPr sz="1100" b="1" dirty="0">
                <a:solidFill>
                  <a:srgbClr val="574641"/>
                </a:solidFill>
                <a:latin typeface="Arial"/>
                <a:cs typeface="Arial"/>
              </a:rPr>
              <a:t>produite </a:t>
            </a:r>
            <a:r>
              <a:rPr sz="1100" b="1" spc="-3" dirty="0">
                <a:solidFill>
                  <a:srgbClr val="574641"/>
                </a:solidFill>
                <a:latin typeface="Arial"/>
                <a:cs typeface="Arial"/>
              </a:rPr>
              <a:t>à partir d’énergie renouvelable  </a:t>
            </a:r>
            <a:r>
              <a:rPr sz="1100" spc="-3" dirty="0">
                <a:solidFill>
                  <a:srgbClr val="574641"/>
                </a:solidFill>
                <a:latin typeface="Arial"/>
                <a:cs typeface="Arial"/>
              </a:rPr>
              <a:t>qui supportent le risque de contrepartie de l’acheteur  </a:t>
            </a:r>
            <a:r>
              <a:rPr sz="1100" dirty="0">
                <a:solidFill>
                  <a:srgbClr val="574641"/>
                </a:solidFill>
                <a:latin typeface="Arial"/>
                <a:cs typeface="Arial"/>
              </a:rPr>
              <a:t>industriel.</a:t>
            </a:r>
            <a:endParaRPr sz="11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grpSp>
        <p:nvGrpSpPr>
          <p:cNvPr id="30" name="object 71">
            <a:extLst>
              <a:ext uri="{FF2B5EF4-FFF2-40B4-BE49-F238E27FC236}">
                <a16:creationId xmlns:a16="http://schemas.microsoft.com/office/drawing/2014/main" id="{2F7FAE81-3528-8690-E147-A5EA60621498}"/>
              </a:ext>
            </a:extLst>
          </p:cNvPr>
          <p:cNvGrpSpPr/>
          <p:nvPr/>
        </p:nvGrpSpPr>
        <p:grpSpPr>
          <a:xfrm>
            <a:off x="140623" y="2216222"/>
            <a:ext cx="402094" cy="357098"/>
            <a:chOff x="213169" y="2540317"/>
            <a:chExt cx="260985" cy="260985"/>
          </a:xfrm>
        </p:grpSpPr>
        <p:sp>
          <p:nvSpPr>
            <p:cNvPr id="31" name="object 72">
              <a:extLst>
                <a:ext uri="{FF2B5EF4-FFF2-40B4-BE49-F238E27FC236}">
                  <a16:creationId xmlns:a16="http://schemas.microsoft.com/office/drawing/2014/main" id="{47776380-0516-2E26-AE93-1805BA7AD37C}"/>
                </a:ext>
              </a:extLst>
            </p:cNvPr>
            <p:cNvSpPr/>
            <p:nvPr/>
          </p:nvSpPr>
          <p:spPr>
            <a:xfrm>
              <a:off x="245522" y="2598835"/>
              <a:ext cx="196279" cy="149629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defTabSz="586380"/>
              <a:endParaRPr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2" name="object 73">
              <a:extLst>
                <a:ext uri="{FF2B5EF4-FFF2-40B4-BE49-F238E27FC236}">
                  <a16:creationId xmlns:a16="http://schemas.microsoft.com/office/drawing/2014/main" id="{925755C4-8BE4-571F-4E4A-8116A52963C7}"/>
                </a:ext>
              </a:extLst>
            </p:cNvPr>
            <p:cNvSpPr/>
            <p:nvPr/>
          </p:nvSpPr>
          <p:spPr>
            <a:xfrm>
              <a:off x="217931" y="2545079"/>
              <a:ext cx="251460" cy="251460"/>
            </a:xfrm>
            <a:custGeom>
              <a:avLst/>
              <a:gdLst/>
              <a:ahLst/>
              <a:cxnLst/>
              <a:rect l="l" t="t" r="r" b="b"/>
              <a:pathLst>
                <a:path w="251459" h="251460">
                  <a:moveTo>
                    <a:pt x="0" y="125729"/>
                  </a:moveTo>
                  <a:lnTo>
                    <a:pt x="9879" y="76777"/>
                  </a:lnTo>
                  <a:lnTo>
                    <a:pt x="36823" y="36814"/>
                  </a:lnTo>
                  <a:lnTo>
                    <a:pt x="76788" y="9876"/>
                  </a:lnTo>
                  <a:lnTo>
                    <a:pt x="125729" y="0"/>
                  </a:lnTo>
                  <a:lnTo>
                    <a:pt x="174671" y="9876"/>
                  </a:lnTo>
                  <a:lnTo>
                    <a:pt x="214636" y="36814"/>
                  </a:lnTo>
                  <a:lnTo>
                    <a:pt x="241580" y="76777"/>
                  </a:lnTo>
                  <a:lnTo>
                    <a:pt x="251460" y="125729"/>
                  </a:lnTo>
                  <a:lnTo>
                    <a:pt x="241580" y="174682"/>
                  </a:lnTo>
                  <a:lnTo>
                    <a:pt x="214636" y="214645"/>
                  </a:lnTo>
                  <a:lnTo>
                    <a:pt x="174671" y="241583"/>
                  </a:lnTo>
                  <a:lnTo>
                    <a:pt x="125729" y="251459"/>
                  </a:lnTo>
                  <a:lnTo>
                    <a:pt x="76788" y="241583"/>
                  </a:lnTo>
                  <a:lnTo>
                    <a:pt x="36823" y="214645"/>
                  </a:lnTo>
                  <a:lnTo>
                    <a:pt x="9879" y="174682"/>
                  </a:lnTo>
                  <a:lnTo>
                    <a:pt x="0" y="125729"/>
                  </a:lnTo>
                  <a:close/>
                </a:path>
              </a:pathLst>
            </a:custGeom>
            <a:ln w="9525">
              <a:solidFill>
                <a:srgbClr val="FFCD00"/>
              </a:solidFill>
            </a:ln>
          </p:spPr>
          <p:txBody>
            <a:bodyPr wrap="square" lIns="0" tIns="0" rIns="0" bIns="0" rtlCol="0"/>
            <a:lstStyle/>
            <a:p>
              <a:pPr defTabSz="586380"/>
              <a:endParaRPr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33" name="object 74">
            <a:extLst>
              <a:ext uri="{FF2B5EF4-FFF2-40B4-BE49-F238E27FC236}">
                <a16:creationId xmlns:a16="http://schemas.microsoft.com/office/drawing/2014/main" id="{EF47E552-B87D-C0D5-360A-DC1474C8D5FF}"/>
              </a:ext>
            </a:extLst>
          </p:cNvPr>
          <p:cNvSpPr txBox="1"/>
          <p:nvPr/>
        </p:nvSpPr>
        <p:spPr>
          <a:xfrm>
            <a:off x="751958" y="3486787"/>
            <a:ext cx="3543508" cy="223257"/>
          </a:xfrm>
          <a:prstGeom prst="rect">
            <a:avLst/>
          </a:prstGeom>
        </p:spPr>
        <p:txBody>
          <a:bodyPr vert="horz" wrap="square" lIns="0" tIns="7738" rIns="0" bIns="0" rtlCol="0">
            <a:spAutoFit/>
          </a:bodyPr>
          <a:lstStyle/>
          <a:p>
            <a:pPr marL="8145" defTabSz="586380">
              <a:spcBef>
                <a:spcPts val="61"/>
              </a:spcBef>
            </a:pPr>
            <a:r>
              <a:rPr sz="1400" spc="-10" dirty="0">
                <a:solidFill>
                  <a:srgbClr val="574641"/>
                </a:solidFill>
                <a:latin typeface="Impact"/>
                <a:cs typeface="Impact"/>
              </a:rPr>
              <a:t>CONTRATS </a:t>
            </a:r>
            <a:r>
              <a:rPr sz="1400" spc="-6" dirty="0">
                <a:solidFill>
                  <a:srgbClr val="574641"/>
                </a:solidFill>
                <a:latin typeface="Impact"/>
                <a:cs typeface="Impact"/>
              </a:rPr>
              <a:t>ÉLIGIBLES </a:t>
            </a:r>
            <a:r>
              <a:rPr sz="1400" spc="-3" dirty="0">
                <a:solidFill>
                  <a:srgbClr val="574641"/>
                </a:solidFill>
                <a:latin typeface="Impact"/>
                <a:cs typeface="Impact"/>
              </a:rPr>
              <a:t>À </a:t>
            </a:r>
            <a:r>
              <a:rPr sz="1400" spc="10" dirty="0">
                <a:solidFill>
                  <a:srgbClr val="574641"/>
                </a:solidFill>
                <a:latin typeface="Impact"/>
                <a:cs typeface="Impact"/>
              </a:rPr>
              <a:t>LA</a:t>
            </a:r>
            <a:r>
              <a:rPr sz="1400" spc="26" dirty="0">
                <a:solidFill>
                  <a:srgbClr val="574641"/>
                </a:solidFill>
                <a:latin typeface="Impact"/>
                <a:cs typeface="Impact"/>
              </a:rPr>
              <a:t> </a:t>
            </a:r>
            <a:r>
              <a:rPr sz="1400" spc="-3" dirty="0">
                <a:solidFill>
                  <a:srgbClr val="574641"/>
                </a:solidFill>
                <a:latin typeface="Impact"/>
                <a:cs typeface="Impact"/>
              </a:rPr>
              <a:t>GARANTIE</a:t>
            </a:r>
            <a:endParaRPr sz="1400" dirty="0">
              <a:solidFill>
                <a:prstClr val="black"/>
              </a:solidFill>
              <a:latin typeface="Impact"/>
              <a:cs typeface="Impact"/>
            </a:endParaRPr>
          </a:p>
        </p:txBody>
      </p:sp>
      <p:grpSp>
        <p:nvGrpSpPr>
          <p:cNvPr id="34" name="object 75">
            <a:extLst>
              <a:ext uri="{FF2B5EF4-FFF2-40B4-BE49-F238E27FC236}">
                <a16:creationId xmlns:a16="http://schemas.microsoft.com/office/drawing/2014/main" id="{822FD12B-2B9F-B992-C35A-23067B3CB7FE}"/>
              </a:ext>
            </a:extLst>
          </p:cNvPr>
          <p:cNvGrpSpPr/>
          <p:nvPr/>
        </p:nvGrpSpPr>
        <p:grpSpPr>
          <a:xfrm>
            <a:off x="232415" y="3328982"/>
            <a:ext cx="390356" cy="372641"/>
            <a:chOff x="213360" y="3625595"/>
            <a:chExt cx="253365" cy="253365"/>
          </a:xfrm>
        </p:grpSpPr>
        <p:sp>
          <p:nvSpPr>
            <p:cNvPr id="35" name="object 76">
              <a:extLst>
                <a:ext uri="{FF2B5EF4-FFF2-40B4-BE49-F238E27FC236}">
                  <a16:creationId xmlns:a16="http://schemas.microsoft.com/office/drawing/2014/main" id="{CC912A30-C0B6-79B2-88A5-B71CDED7F5B3}"/>
                </a:ext>
              </a:extLst>
            </p:cNvPr>
            <p:cNvSpPr/>
            <p:nvPr/>
          </p:nvSpPr>
          <p:spPr>
            <a:xfrm>
              <a:off x="220230" y="3664076"/>
              <a:ext cx="193073" cy="163449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defTabSz="586380"/>
              <a:endParaRPr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6" name="object 77">
              <a:extLst>
                <a:ext uri="{FF2B5EF4-FFF2-40B4-BE49-F238E27FC236}">
                  <a16:creationId xmlns:a16="http://schemas.microsoft.com/office/drawing/2014/main" id="{7967BCE0-A599-1B72-EE3C-5BDC858A2008}"/>
                </a:ext>
              </a:extLst>
            </p:cNvPr>
            <p:cNvSpPr/>
            <p:nvPr/>
          </p:nvSpPr>
          <p:spPr>
            <a:xfrm>
              <a:off x="213360" y="3625595"/>
              <a:ext cx="253365" cy="253365"/>
            </a:xfrm>
            <a:custGeom>
              <a:avLst/>
              <a:gdLst/>
              <a:ahLst/>
              <a:cxnLst/>
              <a:rect l="l" t="t" r="r" b="b"/>
              <a:pathLst>
                <a:path w="253365" h="253364">
                  <a:moveTo>
                    <a:pt x="0" y="126492"/>
                  </a:moveTo>
                  <a:lnTo>
                    <a:pt x="9939" y="77259"/>
                  </a:lnTo>
                  <a:lnTo>
                    <a:pt x="37047" y="37052"/>
                  </a:lnTo>
                  <a:lnTo>
                    <a:pt x="77254" y="9941"/>
                  </a:lnTo>
                  <a:lnTo>
                    <a:pt x="126492" y="0"/>
                  </a:lnTo>
                  <a:lnTo>
                    <a:pt x="175729" y="9941"/>
                  </a:lnTo>
                  <a:lnTo>
                    <a:pt x="215936" y="37052"/>
                  </a:lnTo>
                  <a:lnTo>
                    <a:pt x="243044" y="77259"/>
                  </a:lnTo>
                  <a:lnTo>
                    <a:pt x="252983" y="126492"/>
                  </a:lnTo>
                  <a:lnTo>
                    <a:pt x="243044" y="175724"/>
                  </a:lnTo>
                  <a:lnTo>
                    <a:pt x="215936" y="215931"/>
                  </a:lnTo>
                  <a:lnTo>
                    <a:pt x="175729" y="243042"/>
                  </a:lnTo>
                  <a:lnTo>
                    <a:pt x="126492" y="252984"/>
                  </a:lnTo>
                  <a:lnTo>
                    <a:pt x="77254" y="243042"/>
                  </a:lnTo>
                  <a:lnTo>
                    <a:pt x="37047" y="215931"/>
                  </a:lnTo>
                  <a:lnTo>
                    <a:pt x="9939" y="175724"/>
                  </a:lnTo>
                  <a:lnTo>
                    <a:pt x="0" y="126492"/>
                  </a:lnTo>
                  <a:close/>
                </a:path>
              </a:pathLst>
            </a:custGeom>
            <a:ln w="9525">
              <a:solidFill>
                <a:srgbClr val="FFCD00"/>
              </a:solidFill>
            </a:ln>
          </p:spPr>
          <p:txBody>
            <a:bodyPr wrap="square" lIns="0" tIns="0" rIns="0" bIns="0" rtlCol="0"/>
            <a:lstStyle/>
            <a:p>
              <a:pPr defTabSz="586380"/>
              <a:endParaRPr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37" name="object 82">
            <a:extLst>
              <a:ext uri="{FF2B5EF4-FFF2-40B4-BE49-F238E27FC236}">
                <a16:creationId xmlns:a16="http://schemas.microsoft.com/office/drawing/2014/main" id="{48CC1362-328A-89B2-391D-04E206DAA353}"/>
              </a:ext>
            </a:extLst>
          </p:cNvPr>
          <p:cNvSpPr txBox="1"/>
          <p:nvPr/>
        </p:nvSpPr>
        <p:spPr>
          <a:xfrm>
            <a:off x="5274296" y="2257209"/>
            <a:ext cx="4392137" cy="939974"/>
          </a:xfrm>
          <a:prstGeom prst="rect">
            <a:avLst/>
          </a:prstGeom>
        </p:spPr>
        <p:txBody>
          <a:bodyPr vert="horz" wrap="square" lIns="0" tIns="30135" rIns="0" bIns="0" rtlCol="0">
            <a:spAutoFit/>
          </a:bodyPr>
          <a:lstStyle/>
          <a:p>
            <a:pPr defTabSz="586380">
              <a:spcBef>
                <a:spcPts val="237"/>
              </a:spcBef>
              <a:tabLst>
                <a:tab pos="147410" algn="l"/>
              </a:tabLst>
            </a:pPr>
            <a:r>
              <a:rPr sz="1050" dirty="0">
                <a:solidFill>
                  <a:srgbClr val="574641"/>
                </a:solidFill>
                <a:latin typeface="Impact"/>
                <a:cs typeface="Impact"/>
              </a:rPr>
              <a:t>?	</a:t>
            </a:r>
            <a:r>
              <a:rPr sz="1100" spc="-6" dirty="0">
                <a:solidFill>
                  <a:srgbClr val="574641"/>
                </a:solidFill>
                <a:latin typeface="Impact"/>
                <a:cs typeface="Impact"/>
              </a:rPr>
              <a:t>QUELS SONT LES RISQUES </a:t>
            </a:r>
            <a:r>
              <a:rPr sz="1100" spc="-3" dirty="0">
                <a:solidFill>
                  <a:srgbClr val="574641"/>
                </a:solidFill>
                <a:latin typeface="Impact"/>
                <a:cs typeface="Impact"/>
              </a:rPr>
              <a:t>COUVERTS</a:t>
            </a:r>
            <a:r>
              <a:rPr sz="1100" spc="61" dirty="0">
                <a:solidFill>
                  <a:srgbClr val="574641"/>
                </a:solidFill>
                <a:latin typeface="Impact"/>
                <a:cs typeface="Impact"/>
              </a:rPr>
              <a:t> </a:t>
            </a:r>
            <a:r>
              <a:rPr sz="1100" spc="-3" dirty="0">
                <a:solidFill>
                  <a:srgbClr val="574641"/>
                </a:solidFill>
                <a:latin typeface="Impact"/>
                <a:cs typeface="Impact"/>
              </a:rPr>
              <a:t>?</a:t>
            </a:r>
            <a:endParaRPr sz="1100" dirty="0">
              <a:solidFill>
                <a:prstClr val="black"/>
              </a:solidFill>
              <a:latin typeface="Impact"/>
              <a:cs typeface="Impact"/>
            </a:endParaRPr>
          </a:p>
          <a:p>
            <a:pPr marL="134378" marR="3259" indent="-110761" defTabSz="586380">
              <a:lnSpc>
                <a:spcPct val="101099"/>
              </a:lnSpc>
              <a:spcBef>
                <a:spcPts val="673"/>
              </a:spcBef>
              <a:buClr>
                <a:srgbClr val="FFCD00"/>
              </a:buClr>
              <a:buSzPct val="177777"/>
              <a:buFontTx/>
              <a:buChar char="•"/>
              <a:tabLst>
                <a:tab pos="134787" algn="l"/>
              </a:tabLst>
            </a:pPr>
            <a:r>
              <a:rPr sz="1000" spc="-3" dirty="0">
                <a:solidFill>
                  <a:srgbClr val="574641"/>
                </a:solidFill>
                <a:latin typeface="Arial"/>
                <a:cs typeface="Arial"/>
              </a:rPr>
              <a:t>La garantie couvre la </a:t>
            </a:r>
            <a:r>
              <a:rPr sz="1000" b="1" spc="-3" dirty="0">
                <a:solidFill>
                  <a:srgbClr val="574641"/>
                </a:solidFill>
                <a:latin typeface="Arial"/>
                <a:cs typeface="Arial"/>
              </a:rPr>
              <a:t>perte </a:t>
            </a:r>
            <a:r>
              <a:rPr sz="1000" b="1" dirty="0">
                <a:solidFill>
                  <a:srgbClr val="574641"/>
                </a:solidFill>
                <a:latin typeface="Arial"/>
                <a:cs typeface="Arial"/>
              </a:rPr>
              <a:t>de </a:t>
            </a:r>
            <a:r>
              <a:rPr sz="1000" b="1" spc="-3" dirty="0">
                <a:solidFill>
                  <a:srgbClr val="574641"/>
                </a:solidFill>
                <a:latin typeface="Arial"/>
                <a:cs typeface="Arial"/>
              </a:rPr>
              <a:t>revenus </a:t>
            </a:r>
            <a:r>
              <a:rPr sz="1000" spc="-3" dirty="0">
                <a:solidFill>
                  <a:srgbClr val="574641"/>
                </a:solidFill>
                <a:latin typeface="Arial"/>
                <a:cs typeface="Arial"/>
              </a:rPr>
              <a:t>du producteur </a:t>
            </a:r>
            <a:r>
              <a:rPr sz="1000" dirty="0">
                <a:solidFill>
                  <a:srgbClr val="574641"/>
                </a:solidFill>
                <a:latin typeface="Arial"/>
                <a:cs typeface="Arial"/>
              </a:rPr>
              <a:t>due </a:t>
            </a:r>
            <a:r>
              <a:rPr sz="1000" spc="-10" dirty="0">
                <a:solidFill>
                  <a:srgbClr val="574641"/>
                </a:solidFill>
                <a:latin typeface="Arial"/>
                <a:cs typeface="Arial"/>
              </a:rPr>
              <a:t>au  </a:t>
            </a:r>
            <a:r>
              <a:rPr sz="1000" dirty="0">
                <a:solidFill>
                  <a:srgbClr val="574641"/>
                </a:solidFill>
                <a:latin typeface="Arial"/>
                <a:cs typeface="Arial"/>
              </a:rPr>
              <a:t>non-paiement </a:t>
            </a:r>
            <a:r>
              <a:rPr sz="1000" spc="-3" dirty="0">
                <a:solidFill>
                  <a:srgbClr val="574641"/>
                </a:solidFill>
                <a:latin typeface="Arial"/>
                <a:cs typeface="Arial"/>
              </a:rPr>
              <a:t>éventuel par </a:t>
            </a:r>
            <a:r>
              <a:rPr sz="1000" dirty="0">
                <a:solidFill>
                  <a:srgbClr val="574641"/>
                </a:solidFill>
                <a:latin typeface="Arial"/>
                <a:cs typeface="Arial"/>
              </a:rPr>
              <a:t>l’acheteur </a:t>
            </a:r>
            <a:r>
              <a:rPr sz="1000" spc="-3" dirty="0">
                <a:solidFill>
                  <a:srgbClr val="574641"/>
                </a:solidFill>
                <a:latin typeface="Arial"/>
                <a:cs typeface="Arial"/>
              </a:rPr>
              <a:t>des </a:t>
            </a:r>
            <a:r>
              <a:rPr sz="1000" dirty="0">
                <a:solidFill>
                  <a:srgbClr val="574641"/>
                </a:solidFill>
                <a:latin typeface="Arial"/>
                <a:cs typeface="Arial"/>
              </a:rPr>
              <a:t>électrons</a:t>
            </a:r>
            <a:r>
              <a:rPr sz="1000" spc="-74" dirty="0">
                <a:solidFill>
                  <a:srgbClr val="574641"/>
                </a:solidFill>
                <a:latin typeface="Arial"/>
                <a:cs typeface="Arial"/>
              </a:rPr>
              <a:t> </a:t>
            </a:r>
            <a:r>
              <a:rPr sz="1000" dirty="0">
                <a:solidFill>
                  <a:srgbClr val="574641"/>
                </a:solidFill>
                <a:latin typeface="Arial"/>
                <a:cs typeface="Arial"/>
              </a:rPr>
              <a:t>produits.</a:t>
            </a:r>
            <a:endParaRPr sz="1000" dirty="0">
              <a:solidFill>
                <a:prstClr val="black"/>
              </a:solidFill>
              <a:latin typeface="Arial"/>
              <a:cs typeface="Arial"/>
            </a:endParaRPr>
          </a:p>
          <a:p>
            <a:pPr marL="134378" marR="3259" indent="-110761" defTabSz="586380">
              <a:lnSpc>
                <a:spcPct val="101099"/>
              </a:lnSpc>
              <a:spcBef>
                <a:spcPts val="334"/>
              </a:spcBef>
              <a:buClr>
                <a:srgbClr val="FFCD00"/>
              </a:buClr>
              <a:buSzPct val="177777"/>
              <a:buFontTx/>
              <a:buChar char="•"/>
              <a:tabLst>
                <a:tab pos="134787" algn="l"/>
              </a:tabLst>
            </a:pPr>
            <a:r>
              <a:rPr sz="1000" spc="-3" dirty="0">
                <a:solidFill>
                  <a:srgbClr val="574641"/>
                </a:solidFill>
                <a:latin typeface="Arial"/>
                <a:cs typeface="Arial"/>
              </a:rPr>
              <a:t>Elle </a:t>
            </a:r>
            <a:r>
              <a:rPr sz="1000" b="1" spc="-3" dirty="0">
                <a:solidFill>
                  <a:srgbClr val="574641"/>
                </a:solidFill>
                <a:latin typeface="Arial"/>
                <a:cs typeface="Arial"/>
              </a:rPr>
              <a:t>couvre à </a:t>
            </a:r>
            <a:r>
              <a:rPr sz="1000" b="1" dirty="0">
                <a:solidFill>
                  <a:srgbClr val="574641"/>
                </a:solidFill>
                <a:latin typeface="Arial"/>
                <a:cs typeface="Arial"/>
              </a:rPr>
              <a:t>80% la </a:t>
            </a:r>
            <a:r>
              <a:rPr sz="1000" b="1" spc="-3" dirty="0">
                <a:solidFill>
                  <a:srgbClr val="574641"/>
                </a:solidFill>
                <a:latin typeface="Arial"/>
                <a:cs typeface="Arial"/>
              </a:rPr>
              <a:t>rémunération</a:t>
            </a:r>
            <a:r>
              <a:rPr sz="1000" spc="-3" dirty="0">
                <a:solidFill>
                  <a:srgbClr val="574641"/>
                </a:solidFill>
                <a:latin typeface="Arial"/>
                <a:cs typeface="Arial"/>
              </a:rPr>
              <a:t>, après notification </a:t>
            </a:r>
            <a:r>
              <a:rPr sz="1000" spc="-10" dirty="0">
                <a:solidFill>
                  <a:srgbClr val="574641"/>
                </a:solidFill>
                <a:latin typeface="Arial"/>
                <a:cs typeface="Arial"/>
              </a:rPr>
              <a:t>de  </a:t>
            </a:r>
            <a:r>
              <a:rPr sz="1000" spc="-3" dirty="0">
                <a:solidFill>
                  <a:srgbClr val="574641"/>
                </a:solidFill>
                <a:latin typeface="Arial"/>
                <a:cs typeface="Arial"/>
              </a:rPr>
              <a:t>la </a:t>
            </a:r>
            <a:r>
              <a:rPr sz="1000" dirty="0" err="1">
                <a:solidFill>
                  <a:srgbClr val="574641"/>
                </a:solidFill>
                <a:latin typeface="Arial"/>
                <a:cs typeface="Arial"/>
              </a:rPr>
              <a:t>résiliation</a:t>
            </a:r>
            <a:r>
              <a:rPr sz="1000" dirty="0">
                <a:solidFill>
                  <a:srgbClr val="574641"/>
                </a:solidFill>
                <a:latin typeface="Arial"/>
                <a:cs typeface="Arial"/>
              </a:rPr>
              <a:t> </a:t>
            </a:r>
            <a:r>
              <a:rPr sz="1000" spc="-3" dirty="0">
                <a:solidFill>
                  <a:srgbClr val="574641"/>
                </a:solidFill>
                <a:latin typeface="Arial"/>
                <a:cs typeface="Arial"/>
              </a:rPr>
              <a:t>du</a:t>
            </a:r>
            <a:r>
              <a:rPr lang="fr-FR" sz="1000" spc="-3" dirty="0">
                <a:solidFill>
                  <a:srgbClr val="574641"/>
                </a:solidFill>
                <a:latin typeface="Arial"/>
                <a:cs typeface="Arial"/>
              </a:rPr>
              <a:t> </a:t>
            </a:r>
            <a:r>
              <a:rPr sz="1000" spc="-3" dirty="0">
                <a:solidFill>
                  <a:srgbClr val="574641"/>
                </a:solidFill>
                <a:latin typeface="Arial"/>
                <a:cs typeface="Arial"/>
              </a:rPr>
              <a:t>C-PPA </a:t>
            </a:r>
            <a:r>
              <a:rPr sz="1000" dirty="0">
                <a:solidFill>
                  <a:srgbClr val="574641"/>
                </a:solidFill>
                <a:latin typeface="Arial"/>
                <a:cs typeface="Arial"/>
              </a:rPr>
              <a:t>et mise </a:t>
            </a:r>
            <a:r>
              <a:rPr sz="1000" spc="-3" dirty="0">
                <a:solidFill>
                  <a:srgbClr val="574641"/>
                </a:solidFill>
                <a:latin typeface="Arial"/>
                <a:cs typeface="Arial"/>
              </a:rPr>
              <a:t>en jeu de la</a:t>
            </a:r>
            <a:r>
              <a:rPr sz="1000" spc="-42" dirty="0">
                <a:solidFill>
                  <a:srgbClr val="574641"/>
                </a:solidFill>
                <a:latin typeface="Arial"/>
                <a:cs typeface="Arial"/>
              </a:rPr>
              <a:t> </a:t>
            </a:r>
            <a:r>
              <a:rPr sz="1000" dirty="0">
                <a:solidFill>
                  <a:srgbClr val="574641"/>
                </a:solidFill>
                <a:latin typeface="Arial"/>
                <a:cs typeface="Arial"/>
              </a:rPr>
              <a:t>garantie.</a:t>
            </a:r>
            <a:endParaRPr sz="10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8" name="object 83">
            <a:extLst>
              <a:ext uri="{FF2B5EF4-FFF2-40B4-BE49-F238E27FC236}">
                <a16:creationId xmlns:a16="http://schemas.microsoft.com/office/drawing/2014/main" id="{28D9148C-09C8-CA3A-2197-87A495060E6D}"/>
              </a:ext>
            </a:extLst>
          </p:cNvPr>
          <p:cNvSpPr txBox="1"/>
          <p:nvPr/>
        </p:nvSpPr>
        <p:spPr>
          <a:xfrm>
            <a:off x="5156114" y="3735728"/>
            <a:ext cx="4364038" cy="856764"/>
          </a:xfrm>
          <a:prstGeom prst="rect">
            <a:avLst/>
          </a:prstGeom>
        </p:spPr>
        <p:txBody>
          <a:bodyPr vert="horz" wrap="square" lIns="0" tIns="7738" rIns="0" bIns="0" rtlCol="0">
            <a:spAutoFit/>
          </a:bodyPr>
          <a:lstStyle/>
          <a:p>
            <a:pPr marL="131527" defTabSz="586380">
              <a:spcBef>
                <a:spcPts val="61"/>
              </a:spcBef>
            </a:pPr>
            <a:r>
              <a:rPr sz="1100" spc="-6" dirty="0">
                <a:solidFill>
                  <a:srgbClr val="574641"/>
                </a:solidFill>
                <a:latin typeface="Impact"/>
                <a:cs typeface="Impact"/>
              </a:rPr>
              <a:t>QUELS SONT LES </a:t>
            </a:r>
            <a:r>
              <a:rPr sz="1100" spc="-3" dirty="0">
                <a:solidFill>
                  <a:srgbClr val="574641"/>
                </a:solidFill>
                <a:latin typeface="Impact"/>
                <a:cs typeface="Impact"/>
              </a:rPr>
              <a:t>CAS DE </a:t>
            </a:r>
            <a:r>
              <a:rPr sz="1100" spc="-6" dirty="0">
                <a:solidFill>
                  <a:srgbClr val="574641"/>
                </a:solidFill>
                <a:latin typeface="Impact"/>
                <a:cs typeface="Impact"/>
              </a:rPr>
              <a:t>MISE </a:t>
            </a:r>
            <a:r>
              <a:rPr sz="1100" spc="-3" dirty="0">
                <a:solidFill>
                  <a:srgbClr val="574641"/>
                </a:solidFill>
                <a:latin typeface="Impact"/>
                <a:cs typeface="Impact"/>
              </a:rPr>
              <a:t>EN </a:t>
            </a:r>
            <a:r>
              <a:rPr sz="1100" spc="-6" dirty="0">
                <a:solidFill>
                  <a:srgbClr val="574641"/>
                </a:solidFill>
                <a:latin typeface="Impact"/>
                <a:cs typeface="Impact"/>
              </a:rPr>
              <a:t>JEU </a:t>
            </a:r>
            <a:r>
              <a:rPr sz="1100" dirty="0">
                <a:solidFill>
                  <a:srgbClr val="574641"/>
                </a:solidFill>
                <a:latin typeface="Impact"/>
                <a:cs typeface="Impact"/>
              </a:rPr>
              <a:t>DE </a:t>
            </a:r>
            <a:r>
              <a:rPr sz="1100" spc="6" dirty="0">
                <a:solidFill>
                  <a:srgbClr val="574641"/>
                </a:solidFill>
                <a:latin typeface="Impact"/>
                <a:cs typeface="Impact"/>
              </a:rPr>
              <a:t>LA </a:t>
            </a:r>
            <a:r>
              <a:rPr sz="1100" spc="-3" dirty="0">
                <a:solidFill>
                  <a:srgbClr val="574641"/>
                </a:solidFill>
                <a:latin typeface="Impact"/>
                <a:cs typeface="Impact"/>
              </a:rPr>
              <a:t>GARANTIE</a:t>
            </a:r>
            <a:r>
              <a:rPr sz="1100" spc="48" dirty="0">
                <a:solidFill>
                  <a:srgbClr val="574641"/>
                </a:solidFill>
                <a:latin typeface="Impact"/>
                <a:cs typeface="Impact"/>
              </a:rPr>
              <a:t> </a:t>
            </a:r>
            <a:r>
              <a:rPr sz="1100" spc="-3" dirty="0">
                <a:solidFill>
                  <a:srgbClr val="574641"/>
                </a:solidFill>
                <a:latin typeface="Impact"/>
                <a:cs typeface="Impact"/>
              </a:rPr>
              <a:t>?</a:t>
            </a:r>
            <a:endParaRPr sz="1100" dirty="0">
              <a:solidFill>
                <a:prstClr val="black"/>
              </a:solidFill>
              <a:latin typeface="Impact"/>
              <a:cs typeface="Impact"/>
            </a:endParaRPr>
          </a:p>
          <a:p>
            <a:pPr marL="118499" marR="3259" indent="-110761" algn="just" defTabSz="586380">
              <a:spcBef>
                <a:spcPts val="462"/>
              </a:spcBef>
              <a:buClr>
                <a:srgbClr val="FFCD00"/>
              </a:buClr>
              <a:buSzPct val="177777"/>
              <a:buFontTx/>
              <a:buChar char="•"/>
              <a:tabLst>
                <a:tab pos="118904" algn="l"/>
              </a:tabLst>
            </a:pPr>
            <a:r>
              <a:rPr sz="1000" spc="-3" dirty="0">
                <a:solidFill>
                  <a:srgbClr val="574641"/>
                </a:solidFill>
                <a:latin typeface="Arial"/>
                <a:cs typeface="Arial"/>
              </a:rPr>
              <a:t>La garantie peut </a:t>
            </a:r>
            <a:r>
              <a:rPr sz="1000" dirty="0">
                <a:solidFill>
                  <a:srgbClr val="574641"/>
                </a:solidFill>
                <a:latin typeface="Arial"/>
                <a:cs typeface="Arial"/>
              </a:rPr>
              <a:t>être </a:t>
            </a:r>
            <a:r>
              <a:rPr sz="1000" spc="-6" dirty="0">
                <a:solidFill>
                  <a:srgbClr val="574641"/>
                </a:solidFill>
                <a:latin typeface="Arial"/>
                <a:cs typeface="Arial"/>
              </a:rPr>
              <a:t>mise en </a:t>
            </a:r>
            <a:r>
              <a:rPr sz="1000" spc="-3" dirty="0">
                <a:solidFill>
                  <a:srgbClr val="574641"/>
                </a:solidFill>
                <a:latin typeface="Arial"/>
                <a:cs typeface="Arial"/>
              </a:rPr>
              <a:t>jeu </a:t>
            </a:r>
            <a:r>
              <a:rPr sz="1000" spc="-6" dirty="0">
                <a:solidFill>
                  <a:srgbClr val="574641"/>
                </a:solidFill>
                <a:latin typeface="Arial"/>
                <a:cs typeface="Arial"/>
              </a:rPr>
              <a:t>en </a:t>
            </a:r>
            <a:r>
              <a:rPr sz="1000" dirty="0">
                <a:solidFill>
                  <a:srgbClr val="574641"/>
                </a:solidFill>
                <a:latin typeface="Arial"/>
                <a:cs typeface="Arial"/>
              </a:rPr>
              <a:t>cas </a:t>
            </a:r>
            <a:r>
              <a:rPr sz="1000" spc="-6" dirty="0">
                <a:solidFill>
                  <a:srgbClr val="574641"/>
                </a:solidFill>
                <a:latin typeface="Arial"/>
                <a:cs typeface="Arial"/>
              </a:rPr>
              <a:t>de </a:t>
            </a:r>
            <a:r>
              <a:rPr sz="1000" b="1" spc="-3" dirty="0">
                <a:solidFill>
                  <a:srgbClr val="574641"/>
                </a:solidFill>
                <a:latin typeface="Arial"/>
                <a:cs typeface="Arial"/>
              </a:rPr>
              <a:t>non-paiement</a:t>
            </a:r>
            <a:r>
              <a:rPr sz="1000" spc="-3" dirty="0">
                <a:solidFill>
                  <a:srgbClr val="574641"/>
                </a:solidFill>
                <a:latin typeface="Arial"/>
                <a:cs typeface="Arial"/>
              </a:rPr>
              <a:t>, à leur  date d’exigibilité, </a:t>
            </a:r>
            <a:r>
              <a:rPr sz="1000" b="1" dirty="0">
                <a:solidFill>
                  <a:srgbClr val="574641"/>
                </a:solidFill>
                <a:latin typeface="Arial"/>
                <a:cs typeface="Arial"/>
              </a:rPr>
              <a:t>de </a:t>
            </a:r>
            <a:r>
              <a:rPr sz="1000" b="1" spc="-3" dirty="0">
                <a:solidFill>
                  <a:srgbClr val="574641"/>
                </a:solidFill>
                <a:latin typeface="Arial"/>
                <a:cs typeface="Arial"/>
              </a:rPr>
              <a:t>trois factures </a:t>
            </a:r>
            <a:r>
              <a:rPr sz="1000" spc="-3" dirty="0">
                <a:solidFill>
                  <a:srgbClr val="574641"/>
                </a:solidFill>
                <a:latin typeface="Arial"/>
                <a:cs typeface="Arial"/>
              </a:rPr>
              <a:t>correspondant à </a:t>
            </a:r>
            <a:r>
              <a:rPr sz="1000" b="1" dirty="0">
                <a:solidFill>
                  <a:srgbClr val="574641"/>
                </a:solidFill>
                <a:latin typeface="Arial"/>
                <a:cs typeface="Arial"/>
              </a:rPr>
              <a:t>trois mois </a:t>
            </a:r>
            <a:r>
              <a:rPr sz="1000" b="1" spc="-6" dirty="0">
                <a:solidFill>
                  <a:srgbClr val="574641"/>
                </a:solidFill>
                <a:latin typeface="Arial"/>
                <a:cs typeface="Arial"/>
              </a:rPr>
              <a:t>de  </a:t>
            </a:r>
            <a:r>
              <a:rPr sz="1000" b="1" spc="-3" dirty="0">
                <a:solidFill>
                  <a:srgbClr val="574641"/>
                </a:solidFill>
                <a:latin typeface="Arial"/>
                <a:cs typeface="Arial"/>
              </a:rPr>
              <a:t>livraison d’électricité. </a:t>
            </a:r>
            <a:r>
              <a:rPr sz="1000" spc="-6" dirty="0">
                <a:solidFill>
                  <a:srgbClr val="574641"/>
                </a:solidFill>
                <a:latin typeface="Arial"/>
                <a:cs typeface="Arial"/>
              </a:rPr>
              <a:t>Chaque </a:t>
            </a:r>
            <a:r>
              <a:rPr sz="1000" dirty="0">
                <a:solidFill>
                  <a:srgbClr val="574641"/>
                </a:solidFill>
                <a:latin typeface="Arial"/>
                <a:cs typeface="Arial"/>
              </a:rPr>
              <a:t>facture </a:t>
            </a:r>
            <a:r>
              <a:rPr sz="1000" spc="-3" dirty="0">
                <a:solidFill>
                  <a:srgbClr val="574641"/>
                </a:solidFill>
                <a:latin typeface="Arial"/>
                <a:cs typeface="Arial"/>
              </a:rPr>
              <a:t>doit avoir donné lieu à</a:t>
            </a:r>
            <a:r>
              <a:rPr sz="1000" spc="79" dirty="0">
                <a:solidFill>
                  <a:srgbClr val="574641"/>
                </a:solidFill>
                <a:latin typeface="Arial"/>
                <a:cs typeface="Arial"/>
              </a:rPr>
              <a:t> </a:t>
            </a:r>
            <a:r>
              <a:rPr sz="1000" spc="-3" dirty="0" err="1">
                <a:solidFill>
                  <a:srgbClr val="574641"/>
                </a:solidFill>
                <a:latin typeface="Arial"/>
                <a:cs typeface="Arial"/>
              </a:rPr>
              <a:t>une</a:t>
            </a:r>
            <a:r>
              <a:rPr lang="fr-FR" sz="1000" spc="-3" dirty="0">
                <a:solidFill>
                  <a:srgbClr val="574641"/>
                </a:solidFill>
                <a:latin typeface="Arial"/>
                <a:cs typeface="Arial"/>
              </a:rPr>
              <a:t> </a:t>
            </a:r>
            <a:r>
              <a:rPr lang="fr-FR" sz="1000" b="1" spc="-3" dirty="0">
                <a:solidFill>
                  <a:srgbClr val="574641"/>
                </a:solidFill>
                <a:latin typeface="Arial"/>
                <a:cs typeface="Arial"/>
              </a:rPr>
              <a:t>mise </a:t>
            </a:r>
            <a:r>
              <a:rPr lang="fr-FR" sz="1000" b="1" dirty="0">
                <a:solidFill>
                  <a:srgbClr val="574641"/>
                </a:solidFill>
                <a:latin typeface="Arial"/>
                <a:cs typeface="Arial"/>
              </a:rPr>
              <a:t>en </a:t>
            </a:r>
            <a:r>
              <a:rPr lang="fr-FR" sz="1000" b="1" spc="-3" dirty="0">
                <a:solidFill>
                  <a:srgbClr val="574641"/>
                </a:solidFill>
                <a:latin typeface="Arial"/>
                <a:cs typeface="Arial"/>
              </a:rPr>
              <a:t>demeure </a:t>
            </a:r>
            <a:r>
              <a:rPr lang="fr-FR" sz="1000" b="1" dirty="0">
                <a:solidFill>
                  <a:srgbClr val="574641"/>
                </a:solidFill>
                <a:latin typeface="Arial"/>
                <a:cs typeface="Arial"/>
              </a:rPr>
              <a:t>de l’acheteur </a:t>
            </a:r>
            <a:r>
              <a:rPr lang="fr-FR" sz="1000" dirty="0">
                <a:solidFill>
                  <a:srgbClr val="574641"/>
                </a:solidFill>
                <a:latin typeface="Arial"/>
                <a:cs typeface="Arial"/>
              </a:rPr>
              <a:t>et, </a:t>
            </a:r>
            <a:r>
              <a:rPr lang="fr-FR" sz="1000" spc="-3" dirty="0">
                <a:solidFill>
                  <a:srgbClr val="574641"/>
                </a:solidFill>
                <a:latin typeface="Arial"/>
                <a:cs typeface="Arial"/>
              </a:rPr>
              <a:t>au </a:t>
            </a:r>
            <a:r>
              <a:rPr lang="fr-FR" sz="1000" dirty="0">
                <a:solidFill>
                  <a:srgbClr val="574641"/>
                </a:solidFill>
                <a:latin typeface="Arial"/>
                <a:cs typeface="Arial"/>
              </a:rPr>
              <a:t>moment </a:t>
            </a:r>
            <a:r>
              <a:rPr lang="fr-FR" sz="1000" spc="-3" dirty="0">
                <a:solidFill>
                  <a:srgbClr val="574641"/>
                </a:solidFill>
                <a:latin typeface="Arial"/>
                <a:cs typeface="Arial"/>
              </a:rPr>
              <a:t>de la </a:t>
            </a:r>
            <a:r>
              <a:rPr lang="fr-FR" sz="1000" dirty="0">
                <a:solidFill>
                  <a:srgbClr val="574641"/>
                </a:solidFill>
                <a:latin typeface="Arial"/>
                <a:cs typeface="Arial"/>
              </a:rPr>
              <a:t>mise </a:t>
            </a:r>
            <a:r>
              <a:rPr lang="fr-FR" sz="1000" spc="-3" dirty="0">
                <a:solidFill>
                  <a:srgbClr val="574641"/>
                </a:solidFill>
                <a:latin typeface="Arial"/>
                <a:cs typeface="Arial"/>
              </a:rPr>
              <a:t>en jeu</a:t>
            </a:r>
            <a:r>
              <a:rPr lang="fr-FR" sz="1000" spc="-55" dirty="0">
                <a:solidFill>
                  <a:srgbClr val="574641"/>
                </a:solidFill>
                <a:latin typeface="Arial"/>
                <a:cs typeface="Arial"/>
              </a:rPr>
              <a:t> </a:t>
            </a:r>
            <a:r>
              <a:rPr lang="fr-FR" sz="1000" dirty="0">
                <a:solidFill>
                  <a:srgbClr val="574641"/>
                </a:solidFill>
                <a:latin typeface="Arial"/>
                <a:cs typeface="Arial"/>
              </a:rPr>
              <a:t>:</a:t>
            </a:r>
            <a:endParaRPr lang="fr-FR" sz="10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9" name="object 81">
            <a:extLst>
              <a:ext uri="{FF2B5EF4-FFF2-40B4-BE49-F238E27FC236}">
                <a16:creationId xmlns:a16="http://schemas.microsoft.com/office/drawing/2014/main" id="{0C080C1E-18F8-1F38-9F8C-251D73AFBF5E}"/>
              </a:ext>
            </a:extLst>
          </p:cNvPr>
          <p:cNvSpPr/>
          <p:nvPr/>
        </p:nvSpPr>
        <p:spPr>
          <a:xfrm>
            <a:off x="5187864" y="2249094"/>
            <a:ext cx="220199" cy="240216"/>
          </a:xfrm>
          <a:custGeom>
            <a:avLst/>
            <a:gdLst/>
            <a:ahLst/>
            <a:cxnLst/>
            <a:rect l="l" t="t" r="r" b="b"/>
            <a:pathLst>
              <a:path w="253364" h="251460">
                <a:moveTo>
                  <a:pt x="0" y="125729"/>
                </a:moveTo>
                <a:lnTo>
                  <a:pt x="9941" y="76777"/>
                </a:lnTo>
                <a:lnTo>
                  <a:pt x="37052" y="36814"/>
                </a:lnTo>
                <a:lnTo>
                  <a:pt x="77259" y="9876"/>
                </a:lnTo>
                <a:lnTo>
                  <a:pt x="126492" y="0"/>
                </a:lnTo>
                <a:lnTo>
                  <a:pt x="175724" y="9876"/>
                </a:lnTo>
                <a:lnTo>
                  <a:pt x="215931" y="36814"/>
                </a:lnTo>
                <a:lnTo>
                  <a:pt x="243042" y="76777"/>
                </a:lnTo>
                <a:lnTo>
                  <a:pt x="252984" y="125729"/>
                </a:lnTo>
                <a:lnTo>
                  <a:pt x="243042" y="174682"/>
                </a:lnTo>
                <a:lnTo>
                  <a:pt x="215931" y="214645"/>
                </a:lnTo>
                <a:lnTo>
                  <a:pt x="175724" y="241583"/>
                </a:lnTo>
                <a:lnTo>
                  <a:pt x="126492" y="251459"/>
                </a:lnTo>
                <a:lnTo>
                  <a:pt x="77259" y="241583"/>
                </a:lnTo>
                <a:lnTo>
                  <a:pt x="37052" y="214645"/>
                </a:lnTo>
                <a:lnTo>
                  <a:pt x="9941" y="174682"/>
                </a:lnTo>
                <a:lnTo>
                  <a:pt x="0" y="125729"/>
                </a:lnTo>
                <a:close/>
              </a:path>
            </a:pathLst>
          </a:custGeom>
          <a:ln w="9525">
            <a:solidFill>
              <a:srgbClr val="FFCD00"/>
            </a:solidFill>
          </a:ln>
        </p:spPr>
        <p:txBody>
          <a:bodyPr wrap="square" lIns="0" tIns="0" rIns="0" bIns="0" rtlCol="0"/>
          <a:lstStyle/>
          <a:p>
            <a:pPr defTabSz="586380"/>
            <a:endParaRPr sz="1154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0" name="object 85">
            <a:extLst>
              <a:ext uri="{FF2B5EF4-FFF2-40B4-BE49-F238E27FC236}">
                <a16:creationId xmlns:a16="http://schemas.microsoft.com/office/drawing/2014/main" id="{C19DE95C-5911-C34A-CD41-73A1B158DBBE}"/>
              </a:ext>
            </a:extLst>
          </p:cNvPr>
          <p:cNvSpPr/>
          <p:nvPr/>
        </p:nvSpPr>
        <p:spPr>
          <a:xfrm>
            <a:off x="5099453" y="3533136"/>
            <a:ext cx="181542" cy="192228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586380"/>
            <a:endParaRPr sz="1154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1" name="object 81">
            <a:extLst>
              <a:ext uri="{FF2B5EF4-FFF2-40B4-BE49-F238E27FC236}">
                <a16:creationId xmlns:a16="http://schemas.microsoft.com/office/drawing/2014/main" id="{AE08440B-6F9F-03B2-79AF-645DFFAEA66F}"/>
              </a:ext>
            </a:extLst>
          </p:cNvPr>
          <p:cNvSpPr/>
          <p:nvPr/>
        </p:nvSpPr>
        <p:spPr>
          <a:xfrm>
            <a:off x="5009256" y="3441787"/>
            <a:ext cx="312671" cy="323411"/>
          </a:xfrm>
          <a:custGeom>
            <a:avLst/>
            <a:gdLst/>
            <a:ahLst/>
            <a:cxnLst/>
            <a:rect l="l" t="t" r="r" b="b"/>
            <a:pathLst>
              <a:path w="253364" h="251460">
                <a:moveTo>
                  <a:pt x="0" y="125729"/>
                </a:moveTo>
                <a:lnTo>
                  <a:pt x="9941" y="76777"/>
                </a:lnTo>
                <a:lnTo>
                  <a:pt x="37052" y="36814"/>
                </a:lnTo>
                <a:lnTo>
                  <a:pt x="77259" y="9876"/>
                </a:lnTo>
                <a:lnTo>
                  <a:pt x="126492" y="0"/>
                </a:lnTo>
                <a:lnTo>
                  <a:pt x="175724" y="9876"/>
                </a:lnTo>
                <a:lnTo>
                  <a:pt x="215931" y="36814"/>
                </a:lnTo>
                <a:lnTo>
                  <a:pt x="243042" y="76777"/>
                </a:lnTo>
                <a:lnTo>
                  <a:pt x="252984" y="125729"/>
                </a:lnTo>
                <a:lnTo>
                  <a:pt x="243042" y="174682"/>
                </a:lnTo>
                <a:lnTo>
                  <a:pt x="215931" y="214645"/>
                </a:lnTo>
                <a:lnTo>
                  <a:pt x="175724" y="241583"/>
                </a:lnTo>
                <a:lnTo>
                  <a:pt x="126492" y="251459"/>
                </a:lnTo>
                <a:lnTo>
                  <a:pt x="77259" y="241583"/>
                </a:lnTo>
                <a:lnTo>
                  <a:pt x="37052" y="214645"/>
                </a:lnTo>
                <a:lnTo>
                  <a:pt x="9941" y="174682"/>
                </a:lnTo>
                <a:lnTo>
                  <a:pt x="0" y="125729"/>
                </a:lnTo>
                <a:close/>
              </a:path>
            </a:pathLst>
          </a:custGeom>
          <a:ln w="9525">
            <a:solidFill>
              <a:srgbClr val="FFCD00"/>
            </a:solidFill>
          </a:ln>
        </p:spPr>
        <p:txBody>
          <a:bodyPr wrap="square" lIns="0" tIns="0" rIns="0" bIns="0" rtlCol="0"/>
          <a:lstStyle/>
          <a:p>
            <a:pPr defTabSz="586380"/>
            <a:endParaRPr sz="1154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111745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74E12836-6BB5-5FBD-4647-42DBE63A12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9858401-1896-4F80-9B2B-186795E41C27}" type="slidenum">
              <a:rPr lang="fr-FR" smtClean="0"/>
              <a:pPr/>
              <a:t>5</a:t>
            </a:fld>
            <a:endParaRPr lang="fr-FR"/>
          </a:p>
        </p:txBody>
      </p:sp>
      <p:sp>
        <p:nvSpPr>
          <p:cNvPr id="3" name="object 2">
            <a:extLst>
              <a:ext uri="{FF2B5EF4-FFF2-40B4-BE49-F238E27FC236}">
                <a16:creationId xmlns:a16="http://schemas.microsoft.com/office/drawing/2014/main" id="{0DA0B0ED-9A83-4D59-D212-6259CAC38E3F}"/>
              </a:ext>
            </a:extLst>
          </p:cNvPr>
          <p:cNvSpPr txBox="1"/>
          <p:nvPr/>
        </p:nvSpPr>
        <p:spPr>
          <a:xfrm>
            <a:off x="4684632" y="530169"/>
            <a:ext cx="4793445" cy="785360"/>
          </a:xfrm>
          <a:prstGeom prst="rect">
            <a:avLst/>
          </a:prstGeom>
        </p:spPr>
        <p:txBody>
          <a:bodyPr vert="horz" wrap="square" lIns="0" tIns="8145" rIns="0" bIns="0" rtlCol="0">
            <a:spAutoFit/>
          </a:bodyPr>
          <a:lstStyle/>
          <a:p>
            <a:pPr marL="8145" marR="3259" algn="just" defTabSz="586380">
              <a:spcBef>
                <a:spcPts val="64"/>
              </a:spcBef>
            </a:pPr>
            <a:r>
              <a:rPr sz="1200" spc="-3" dirty="0">
                <a:solidFill>
                  <a:srgbClr val="574641"/>
                </a:solidFill>
                <a:latin typeface="Arial"/>
                <a:cs typeface="Arial"/>
              </a:rPr>
              <a:t>La commission de garantie </a:t>
            </a:r>
            <a:r>
              <a:rPr sz="1200" spc="-6" dirty="0">
                <a:solidFill>
                  <a:srgbClr val="574641"/>
                </a:solidFill>
                <a:latin typeface="Arial"/>
                <a:cs typeface="Arial"/>
              </a:rPr>
              <a:t>est </a:t>
            </a:r>
            <a:r>
              <a:rPr sz="1200" b="1" spc="-3" dirty="0">
                <a:solidFill>
                  <a:srgbClr val="574641"/>
                </a:solidFill>
                <a:latin typeface="Arial"/>
                <a:cs typeface="Arial"/>
              </a:rPr>
              <a:t>fixée à l’octroi </a:t>
            </a:r>
            <a:r>
              <a:rPr sz="1200" dirty="0">
                <a:solidFill>
                  <a:srgbClr val="574641"/>
                </a:solidFill>
                <a:latin typeface="Arial"/>
                <a:cs typeface="Arial"/>
              </a:rPr>
              <a:t>et </a:t>
            </a:r>
            <a:r>
              <a:rPr sz="1200" b="1" dirty="0">
                <a:solidFill>
                  <a:srgbClr val="574641"/>
                </a:solidFill>
                <a:latin typeface="Arial"/>
                <a:cs typeface="Arial"/>
              </a:rPr>
              <a:t>pour </a:t>
            </a:r>
            <a:r>
              <a:rPr sz="1200" b="1" spc="-6" dirty="0">
                <a:solidFill>
                  <a:srgbClr val="574641"/>
                </a:solidFill>
                <a:latin typeface="Arial"/>
                <a:cs typeface="Arial"/>
              </a:rPr>
              <a:t>la </a:t>
            </a:r>
            <a:r>
              <a:rPr sz="1200" b="1" spc="-3" dirty="0">
                <a:solidFill>
                  <a:srgbClr val="574641"/>
                </a:solidFill>
                <a:latin typeface="Arial"/>
                <a:cs typeface="Arial"/>
              </a:rPr>
              <a:t>durée </a:t>
            </a:r>
            <a:r>
              <a:rPr sz="1200" b="1" dirty="0">
                <a:solidFill>
                  <a:srgbClr val="574641"/>
                </a:solidFill>
                <a:latin typeface="Arial"/>
                <a:cs typeface="Arial"/>
              </a:rPr>
              <a:t>de la  </a:t>
            </a:r>
            <a:r>
              <a:rPr sz="1200" b="1" spc="-3" dirty="0">
                <a:solidFill>
                  <a:srgbClr val="574641"/>
                </a:solidFill>
                <a:latin typeface="Arial"/>
                <a:cs typeface="Arial"/>
              </a:rPr>
              <a:t>garantie. </a:t>
            </a:r>
            <a:r>
              <a:rPr sz="1200" spc="-3" dirty="0">
                <a:solidFill>
                  <a:srgbClr val="574641"/>
                </a:solidFill>
                <a:latin typeface="Arial"/>
                <a:cs typeface="Arial"/>
              </a:rPr>
              <a:t>Elle est calculée selon un système </a:t>
            </a:r>
            <a:r>
              <a:rPr sz="1200" spc="-6" dirty="0">
                <a:solidFill>
                  <a:srgbClr val="574641"/>
                </a:solidFill>
                <a:latin typeface="Arial"/>
                <a:cs typeface="Arial"/>
              </a:rPr>
              <a:t>de </a:t>
            </a:r>
            <a:r>
              <a:rPr sz="1200" spc="-3" dirty="0">
                <a:solidFill>
                  <a:srgbClr val="574641"/>
                </a:solidFill>
                <a:latin typeface="Arial"/>
                <a:cs typeface="Arial"/>
              </a:rPr>
              <a:t>tarification qui </a:t>
            </a:r>
            <a:r>
              <a:rPr sz="1200" spc="-6" dirty="0">
                <a:solidFill>
                  <a:srgbClr val="574641"/>
                </a:solidFill>
                <a:latin typeface="Arial"/>
                <a:cs typeface="Arial"/>
              </a:rPr>
              <a:t>prend  </a:t>
            </a:r>
            <a:r>
              <a:rPr sz="1200" spc="-3" dirty="0">
                <a:solidFill>
                  <a:srgbClr val="574641"/>
                </a:solidFill>
                <a:latin typeface="Arial"/>
                <a:cs typeface="Arial"/>
              </a:rPr>
              <a:t>en </a:t>
            </a:r>
            <a:r>
              <a:rPr sz="1200" dirty="0">
                <a:solidFill>
                  <a:srgbClr val="574641"/>
                </a:solidFill>
                <a:latin typeface="Arial"/>
                <a:cs typeface="Arial"/>
              </a:rPr>
              <a:t>compte, </a:t>
            </a:r>
            <a:r>
              <a:rPr sz="1200" spc="-3" dirty="0">
                <a:solidFill>
                  <a:srgbClr val="574641"/>
                </a:solidFill>
                <a:latin typeface="Arial"/>
                <a:cs typeface="Arial"/>
              </a:rPr>
              <a:t>entre </a:t>
            </a:r>
            <a:r>
              <a:rPr sz="1200" dirty="0">
                <a:solidFill>
                  <a:srgbClr val="574641"/>
                </a:solidFill>
                <a:latin typeface="Arial"/>
                <a:cs typeface="Arial"/>
              </a:rPr>
              <a:t>autres, </a:t>
            </a:r>
            <a:r>
              <a:rPr sz="1200" spc="-3" dirty="0">
                <a:solidFill>
                  <a:srgbClr val="574641"/>
                </a:solidFill>
                <a:latin typeface="Arial"/>
                <a:cs typeface="Arial"/>
              </a:rPr>
              <a:t>les </a:t>
            </a:r>
            <a:r>
              <a:rPr sz="1200" dirty="0">
                <a:solidFill>
                  <a:srgbClr val="574641"/>
                </a:solidFill>
                <a:latin typeface="Arial"/>
                <a:cs typeface="Arial"/>
              </a:rPr>
              <a:t>éléments </a:t>
            </a:r>
            <a:r>
              <a:rPr sz="1200" spc="-3" dirty="0">
                <a:solidFill>
                  <a:srgbClr val="574641"/>
                </a:solidFill>
                <a:latin typeface="Arial"/>
                <a:cs typeface="Arial"/>
              </a:rPr>
              <a:t>suivants</a:t>
            </a:r>
            <a:r>
              <a:rPr sz="1200" spc="-51" dirty="0">
                <a:solidFill>
                  <a:srgbClr val="574641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574641"/>
                </a:solidFill>
                <a:latin typeface="Arial"/>
                <a:cs typeface="Arial"/>
              </a:rPr>
              <a:t>:</a:t>
            </a:r>
            <a:endParaRPr sz="1200" dirty="0">
              <a:solidFill>
                <a:prstClr val="black"/>
              </a:solidFill>
              <a:latin typeface="Arial"/>
              <a:cs typeface="Arial"/>
            </a:endParaRPr>
          </a:p>
          <a:p>
            <a:pPr marL="118499" indent="-110761" defTabSz="586380">
              <a:spcBef>
                <a:spcPts val="253"/>
              </a:spcBef>
              <a:buClr>
                <a:srgbClr val="FFCD00"/>
              </a:buClr>
              <a:buSzPct val="177777"/>
              <a:buFont typeface="Arial"/>
              <a:buChar char="•"/>
              <a:tabLst>
                <a:tab pos="118904" algn="l"/>
              </a:tabLst>
            </a:pPr>
            <a:r>
              <a:rPr sz="1200" b="1" dirty="0">
                <a:solidFill>
                  <a:srgbClr val="574641"/>
                </a:solidFill>
                <a:latin typeface="Arial"/>
                <a:cs typeface="Arial"/>
              </a:rPr>
              <a:t>les paramètres de la garantie </a:t>
            </a:r>
            <a:r>
              <a:rPr sz="1200" b="1" spc="-3" dirty="0">
                <a:solidFill>
                  <a:srgbClr val="574641"/>
                </a:solidFill>
                <a:latin typeface="Arial"/>
                <a:cs typeface="Arial"/>
              </a:rPr>
              <a:t>fixés </a:t>
            </a:r>
            <a:r>
              <a:rPr sz="1200" b="1" dirty="0">
                <a:solidFill>
                  <a:srgbClr val="574641"/>
                </a:solidFill>
                <a:latin typeface="Arial"/>
                <a:cs typeface="Arial"/>
              </a:rPr>
              <a:t>par le producteur</a:t>
            </a:r>
            <a:r>
              <a:rPr sz="1200" b="1" spc="-71" dirty="0">
                <a:solidFill>
                  <a:srgbClr val="574641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574641"/>
                </a:solidFill>
                <a:latin typeface="Arial"/>
                <a:cs typeface="Arial"/>
              </a:rPr>
              <a:t>:</a:t>
            </a:r>
            <a:endParaRPr sz="12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" name="object 3">
            <a:extLst>
              <a:ext uri="{FF2B5EF4-FFF2-40B4-BE49-F238E27FC236}">
                <a16:creationId xmlns:a16="http://schemas.microsoft.com/office/drawing/2014/main" id="{1DFBFAB6-6889-4C5A-3DDB-D29D280211C4}"/>
              </a:ext>
            </a:extLst>
          </p:cNvPr>
          <p:cNvSpPr txBox="1"/>
          <p:nvPr/>
        </p:nvSpPr>
        <p:spPr>
          <a:xfrm>
            <a:off x="4879271" y="1305631"/>
            <a:ext cx="4387618" cy="1970300"/>
          </a:xfrm>
          <a:prstGeom prst="rect">
            <a:avLst/>
          </a:prstGeom>
        </p:spPr>
        <p:txBody>
          <a:bodyPr vert="horz" wrap="square" lIns="0" tIns="8145" rIns="0" bIns="0" rtlCol="0">
            <a:spAutoFit/>
          </a:bodyPr>
          <a:lstStyle/>
          <a:p>
            <a:pPr marL="117682" marR="3259" indent="-109946" algn="just" defTabSz="586380">
              <a:spcBef>
                <a:spcPts val="64"/>
              </a:spcBef>
              <a:buClr>
                <a:srgbClr val="FFCD00"/>
              </a:buClr>
              <a:buSzPct val="177777"/>
              <a:buFontTx/>
              <a:buChar char="•"/>
              <a:tabLst>
                <a:tab pos="118090" algn="l"/>
              </a:tabLst>
            </a:pPr>
            <a:r>
              <a:rPr sz="1200" u="sng" spc="-3" dirty="0">
                <a:solidFill>
                  <a:srgbClr val="574641"/>
                </a:solidFill>
                <a:uFill>
                  <a:solidFill>
                    <a:srgbClr val="574641"/>
                  </a:solidFill>
                </a:uFill>
                <a:latin typeface="Arial"/>
                <a:cs typeface="Arial"/>
              </a:rPr>
              <a:t>Volumes </a:t>
            </a:r>
            <a:r>
              <a:rPr sz="1200" u="sng" dirty="0">
                <a:solidFill>
                  <a:srgbClr val="574641"/>
                </a:solidFill>
                <a:uFill>
                  <a:solidFill>
                    <a:srgbClr val="574641"/>
                  </a:solidFill>
                </a:uFill>
                <a:latin typeface="Arial"/>
                <a:cs typeface="Arial"/>
              </a:rPr>
              <a:t>et </a:t>
            </a:r>
            <a:r>
              <a:rPr sz="1200" u="sng" spc="-3" dirty="0">
                <a:solidFill>
                  <a:srgbClr val="574641"/>
                </a:solidFill>
                <a:uFill>
                  <a:solidFill>
                    <a:srgbClr val="574641"/>
                  </a:solidFill>
                </a:uFill>
                <a:latin typeface="Arial"/>
                <a:cs typeface="Arial"/>
              </a:rPr>
              <a:t>prix de référence garantis</a:t>
            </a:r>
            <a:r>
              <a:rPr sz="1200" spc="-3" dirty="0">
                <a:solidFill>
                  <a:srgbClr val="574641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574641"/>
                </a:solidFill>
                <a:latin typeface="Arial"/>
                <a:cs typeface="Arial"/>
              </a:rPr>
              <a:t>: </a:t>
            </a:r>
            <a:r>
              <a:rPr sz="1200" spc="-3" dirty="0">
                <a:solidFill>
                  <a:srgbClr val="574641"/>
                </a:solidFill>
                <a:latin typeface="Arial"/>
                <a:cs typeface="Arial"/>
              </a:rPr>
              <a:t>volumes annuels  (en </a:t>
            </a:r>
            <a:r>
              <a:rPr sz="1200" dirty="0">
                <a:solidFill>
                  <a:srgbClr val="574641"/>
                </a:solidFill>
                <a:latin typeface="Arial"/>
                <a:cs typeface="Arial"/>
              </a:rPr>
              <a:t>MWh) et </a:t>
            </a:r>
            <a:r>
              <a:rPr sz="1200" spc="-3" dirty="0">
                <a:solidFill>
                  <a:srgbClr val="574641"/>
                </a:solidFill>
                <a:latin typeface="Arial"/>
                <a:cs typeface="Arial"/>
              </a:rPr>
              <a:t>prix annuels </a:t>
            </a:r>
            <a:r>
              <a:rPr sz="1200" dirty="0">
                <a:solidFill>
                  <a:srgbClr val="574641"/>
                </a:solidFill>
                <a:latin typeface="Arial"/>
                <a:cs typeface="Arial"/>
              </a:rPr>
              <a:t>(en </a:t>
            </a:r>
            <a:r>
              <a:rPr sz="1200" spc="-3" dirty="0">
                <a:solidFill>
                  <a:srgbClr val="574641"/>
                </a:solidFill>
                <a:latin typeface="Arial"/>
                <a:cs typeface="Arial"/>
              </a:rPr>
              <a:t>€/MWh) définis </a:t>
            </a:r>
            <a:r>
              <a:rPr sz="1200" dirty="0">
                <a:solidFill>
                  <a:srgbClr val="574641"/>
                </a:solidFill>
                <a:latin typeface="Arial"/>
                <a:cs typeface="Arial"/>
              </a:rPr>
              <a:t>sur </a:t>
            </a:r>
            <a:r>
              <a:rPr sz="1200" spc="-6" dirty="0">
                <a:solidFill>
                  <a:srgbClr val="574641"/>
                </a:solidFill>
                <a:latin typeface="Arial"/>
                <a:cs typeface="Arial"/>
              </a:rPr>
              <a:t>la </a:t>
            </a:r>
            <a:r>
              <a:rPr sz="1200" spc="-3" dirty="0">
                <a:solidFill>
                  <a:srgbClr val="574641"/>
                </a:solidFill>
                <a:latin typeface="Arial"/>
                <a:cs typeface="Arial"/>
              </a:rPr>
              <a:t>durée </a:t>
            </a:r>
            <a:r>
              <a:rPr sz="1200" spc="-10" dirty="0">
                <a:solidFill>
                  <a:srgbClr val="574641"/>
                </a:solidFill>
                <a:latin typeface="Arial"/>
                <a:cs typeface="Arial"/>
              </a:rPr>
              <a:t>du  </a:t>
            </a:r>
            <a:r>
              <a:rPr sz="1200" dirty="0">
                <a:solidFill>
                  <a:srgbClr val="574641"/>
                </a:solidFill>
                <a:latin typeface="Arial"/>
                <a:cs typeface="Arial"/>
              </a:rPr>
              <a:t>contrat </a:t>
            </a:r>
            <a:r>
              <a:rPr sz="1200" spc="-3" dirty="0">
                <a:solidFill>
                  <a:srgbClr val="574641"/>
                </a:solidFill>
                <a:latin typeface="Arial"/>
                <a:cs typeface="Arial"/>
              </a:rPr>
              <a:t>C-PPA</a:t>
            </a:r>
            <a:r>
              <a:rPr sz="1200" spc="-16" dirty="0">
                <a:solidFill>
                  <a:srgbClr val="574641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574641"/>
                </a:solidFill>
                <a:latin typeface="Arial"/>
                <a:cs typeface="Arial"/>
              </a:rPr>
              <a:t>;</a:t>
            </a:r>
            <a:endParaRPr sz="1200" dirty="0">
              <a:solidFill>
                <a:prstClr val="black"/>
              </a:solidFill>
              <a:latin typeface="Arial"/>
              <a:cs typeface="Arial"/>
            </a:endParaRPr>
          </a:p>
          <a:p>
            <a:pPr marL="117682" marR="3664" indent="-109946" algn="just" defTabSz="586380">
              <a:spcBef>
                <a:spcPts val="253"/>
              </a:spcBef>
              <a:buClr>
                <a:srgbClr val="FFCD00"/>
              </a:buClr>
              <a:buSzPct val="177777"/>
              <a:buFontTx/>
              <a:buChar char="•"/>
              <a:tabLst>
                <a:tab pos="118090" algn="l"/>
              </a:tabLst>
            </a:pPr>
            <a:r>
              <a:rPr sz="1200" u="sng" spc="-3" dirty="0">
                <a:solidFill>
                  <a:srgbClr val="574641"/>
                </a:solidFill>
                <a:uFill>
                  <a:solidFill>
                    <a:srgbClr val="574641"/>
                  </a:solidFill>
                </a:uFill>
                <a:latin typeface="Arial"/>
                <a:cs typeface="Arial"/>
              </a:rPr>
              <a:t>Période couverte</a:t>
            </a:r>
            <a:r>
              <a:rPr sz="1200" spc="-3" dirty="0">
                <a:solidFill>
                  <a:srgbClr val="574641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574641"/>
                </a:solidFill>
                <a:latin typeface="Arial"/>
                <a:cs typeface="Arial"/>
              </a:rPr>
              <a:t>: </a:t>
            </a:r>
            <a:r>
              <a:rPr sz="1200" spc="-3" dirty="0">
                <a:solidFill>
                  <a:srgbClr val="574641"/>
                </a:solidFill>
                <a:latin typeface="Arial"/>
                <a:cs typeface="Arial"/>
              </a:rPr>
              <a:t>25 ans maximum </a:t>
            </a:r>
            <a:r>
              <a:rPr sz="1200" dirty="0">
                <a:solidFill>
                  <a:srgbClr val="574641"/>
                </a:solidFill>
                <a:latin typeface="Arial"/>
                <a:cs typeface="Arial"/>
              </a:rPr>
              <a:t>et </a:t>
            </a:r>
            <a:r>
              <a:rPr sz="1200" spc="-3" dirty="0">
                <a:solidFill>
                  <a:srgbClr val="574641"/>
                </a:solidFill>
                <a:latin typeface="Arial"/>
                <a:cs typeface="Arial"/>
              </a:rPr>
              <a:t>inférieure ou égale à  la durée du C-PPA </a:t>
            </a:r>
            <a:r>
              <a:rPr sz="1200" dirty="0">
                <a:solidFill>
                  <a:srgbClr val="574641"/>
                </a:solidFill>
                <a:latin typeface="Arial"/>
                <a:cs typeface="Arial"/>
              </a:rPr>
              <a:t>garanti ;</a:t>
            </a:r>
            <a:endParaRPr sz="1200" dirty="0">
              <a:solidFill>
                <a:prstClr val="black"/>
              </a:solidFill>
              <a:latin typeface="Arial"/>
              <a:cs typeface="Arial"/>
            </a:endParaRPr>
          </a:p>
          <a:p>
            <a:pPr marL="117682" indent="-109946" defTabSz="586380">
              <a:spcBef>
                <a:spcPts val="253"/>
              </a:spcBef>
              <a:buClr>
                <a:srgbClr val="FFCD00"/>
              </a:buClr>
              <a:buSzPct val="177777"/>
              <a:buFontTx/>
              <a:buChar char="•"/>
              <a:tabLst>
                <a:tab pos="118090" algn="l"/>
              </a:tabLst>
            </a:pPr>
            <a:r>
              <a:rPr sz="1200" u="sng" dirty="0">
                <a:solidFill>
                  <a:srgbClr val="574641"/>
                </a:solidFill>
                <a:uFill>
                  <a:solidFill>
                    <a:srgbClr val="574641"/>
                  </a:solidFill>
                </a:uFill>
                <a:latin typeface="Arial"/>
                <a:cs typeface="Arial"/>
              </a:rPr>
              <a:t>Prix </a:t>
            </a:r>
            <a:r>
              <a:rPr sz="1200" u="sng" spc="-3" dirty="0">
                <a:solidFill>
                  <a:srgbClr val="574641"/>
                </a:solidFill>
                <a:uFill>
                  <a:solidFill>
                    <a:srgbClr val="574641"/>
                  </a:solidFill>
                </a:uFill>
                <a:latin typeface="Arial"/>
                <a:cs typeface="Arial"/>
              </a:rPr>
              <a:t>plancher</a:t>
            </a:r>
            <a:r>
              <a:rPr sz="1200" spc="-3" dirty="0">
                <a:solidFill>
                  <a:srgbClr val="574641"/>
                </a:solidFill>
                <a:latin typeface="Arial"/>
                <a:cs typeface="Arial"/>
              </a:rPr>
              <a:t> (</a:t>
            </a:r>
            <a:r>
              <a:rPr sz="1200" i="1" spc="-3" dirty="0">
                <a:solidFill>
                  <a:srgbClr val="574641"/>
                </a:solidFill>
                <a:latin typeface="Arial"/>
                <a:cs typeface="Arial"/>
              </a:rPr>
              <a:t>optionnel</a:t>
            </a:r>
            <a:r>
              <a:rPr sz="1200" spc="-3" dirty="0">
                <a:solidFill>
                  <a:srgbClr val="574641"/>
                </a:solidFill>
                <a:latin typeface="Arial"/>
                <a:cs typeface="Arial"/>
              </a:rPr>
              <a:t>) </a:t>
            </a:r>
            <a:r>
              <a:rPr sz="1200" dirty="0">
                <a:solidFill>
                  <a:srgbClr val="574641"/>
                </a:solidFill>
                <a:latin typeface="Arial"/>
                <a:cs typeface="Arial"/>
              </a:rPr>
              <a:t>: </a:t>
            </a:r>
            <a:r>
              <a:rPr sz="1200" spc="-3" dirty="0">
                <a:solidFill>
                  <a:srgbClr val="574641"/>
                </a:solidFill>
                <a:latin typeface="Arial"/>
                <a:cs typeface="Arial"/>
              </a:rPr>
              <a:t>limites </a:t>
            </a:r>
            <a:r>
              <a:rPr sz="1200" spc="-6" dirty="0">
                <a:solidFill>
                  <a:srgbClr val="574641"/>
                </a:solidFill>
                <a:latin typeface="Arial"/>
                <a:cs typeface="Arial"/>
              </a:rPr>
              <a:t>de </a:t>
            </a:r>
            <a:r>
              <a:rPr sz="1200" spc="-3" dirty="0">
                <a:solidFill>
                  <a:srgbClr val="574641"/>
                </a:solidFill>
                <a:latin typeface="Arial"/>
                <a:cs typeface="Arial"/>
              </a:rPr>
              <a:t>prix mensuelles</a:t>
            </a:r>
            <a:r>
              <a:rPr sz="1200" spc="29" dirty="0">
                <a:solidFill>
                  <a:srgbClr val="574641"/>
                </a:solidFill>
                <a:latin typeface="Arial"/>
                <a:cs typeface="Arial"/>
              </a:rPr>
              <a:t> </a:t>
            </a:r>
            <a:r>
              <a:rPr sz="1200" spc="-3" dirty="0">
                <a:solidFill>
                  <a:srgbClr val="574641"/>
                </a:solidFill>
                <a:latin typeface="Arial"/>
                <a:cs typeface="Arial"/>
              </a:rPr>
              <a:t>(en</a:t>
            </a:r>
            <a:endParaRPr sz="1200" dirty="0">
              <a:solidFill>
                <a:prstClr val="black"/>
              </a:solidFill>
              <a:latin typeface="Arial"/>
              <a:cs typeface="Arial"/>
            </a:endParaRPr>
          </a:p>
          <a:p>
            <a:pPr marL="117682" marR="3664" defTabSz="586380"/>
            <a:r>
              <a:rPr sz="1200" spc="-3" dirty="0">
                <a:solidFill>
                  <a:srgbClr val="574641"/>
                </a:solidFill>
                <a:latin typeface="Arial"/>
                <a:cs typeface="Arial"/>
              </a:rPr>
              <a:t>€/MWh) en-dessous desquelles l’écart </a:t>
            </a:r>
            <a:r>
              <a:rPr sz="1200" spc="-6" dirty="0">
                <a:solidFill>
                  <a:srgbClr val="574641"/>
                </a:solidFill>
                <a:latin typeface="Arial"/>
                <a:cs typeface="Arial"/>
              </a:rPr>
              <a:t>de </a:t>
            </a:r>
            <a:r>
              <a:rPr sz="1200" spc="-3" dirty="0">
                <a:solidFill>
                  <a:srgbClr val="574641"/>
                </a:solidFill>
                <a:latin typeface="Arial"/>
                <a:cs typeface="Arial"/>
              </a:rPr>
              <a:t>revenu </a:t>
            </a:r>
            <a:r>
              <a:rPr sz="1200" spc="-6" dirty="0">
                <a:solidFill>
                  <a:srgbClr val="574641"/>
                </a:solidFill>
                <a:latin typeface="Arial"/>
                <a:cs typeface="Arial"/>
              </a:rPr>
              <a:t>ne </a:t>
            </a:r>
            <a:r>
              <a:rPr sz="1200" spc="-3" dirty="0">
                <a:solidFill>
                  <a:srgbClr val="574641"/>
                </a:solidFill>
                <a:latin typeface="Arial"/>
                <a:cs typeface="Arial"/>
              </a:rPr>
              <a:t>serait  pas couvert</a:t>
            </a:r>
            <a:r>
              <a:rPr sz="1200" spc="-16" dirty="0">
                <a:solidFill>
                  <a:srgbClr val="574641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574641"/>
                </a:solidFill>
                <a:latin typeface="Arial"/>
                <a:cs typeface="Arial"/>
              </a:rPr>
              <a:t>;</a:t>
            </a:r>
            <a:endParaRPr sz="1200" dirty="0">
              <a:solidFill>
                <a:prstClr val="black"/>
              </a:solidFill>
              <a:latin typeface="Arial"/>
              <a:cs typeface="Arial"/>
            </a:endParaRPr>
          </a:p>
          <a:p>
            <a:pPr marL="117682" marR="3259" indent="-109946" algn="just" defTabSz="586380">
              <a:spcBef>
                <a:spcPts val="261"/>
              </a:spcBef>
              <a:buClr>
                <a:srgbClr val="FFCD00"/>
              </a:buClr>
              <a:buSzPct val="177777"/>
              <a:buFontTx/>
              <a:buChar char="•"/>
              <a:tabLst>
                <a:tab pos="118090" algn="l"/>
              </a:tabLst>
            </a:pPr>
            <a:r>
              <a:rPr sz="1200" u="sng" dirty="0">
                <a:solidFill>
                  <a:srgbClr val="574641"/>
                </a:solidFill>
                <a:uFill>
                  <a:solidFill>
                    <a:srgbClr val="574641"/>
                  </a:solidFill>
                </a:uFill>
                <a:latin typeface="Arial"/>
                <a:cs typeface="Arial"/>
              </a:rPr>
              <a:t>Délai de </a:t>
            </a:r>
            <a:r>
              <a:rPr sz="1200" u="sng" spc="-3" dirty="0">
                <a:solidFill>
                  <a:srgbClr val="574641"/>
                </a:solidFill>
                <a:uFill>
                  <a:solidFill>
                    <a:srgbClr val="574641"/>
                  </a:solidFill>
                </a:uFill>
                <a:latin typeface="Arial"/>
                <a:cs typeface="Arial"/>
              </a:rPr>
              <a:t>carence</a:t>
            </a:r>
            <a:r>
              <a:rPr sz="1200" spc="-3" dirty="0">
                <a:solidFill>
                  <a:srgbClr val="574641"/>
                </a:solidFill>
                <a:latin typeface="Arial"/>
                <a:cs typeface="Arial"/>
              </a:rPr>
              <a:t> (</a:t>
            </a:r>
            <a:r>
              <a:rPr sz="1200" i="1" spc="-3" dirty="0">
                <a:solidFill>
                  <a:srgbClr val="574641"/>
                </a:solidFill>
                <a:latin typeface="Arial"/>
                <a:cs typeface="Arial"/>
              </a:rPr>
              <a:t>optionnel</a:t>
            </a:r>
            <a:r>
              <a:rPr sz="1200" spc="-3" dirty="0">
                <a:solidFill>
                  <a:srgbClr val="574641"/>
                </a:solidFill>
                <a:latin typeface="Arial"/>
                <a:cs typeface="Arial"/>
              </a:rPr>
              <a:t>) </a:t>
            </a:r>
            <a:r>
              <a:rPr sz="1200" dirty="0">
                <a:solidFill>
                  <a:srgbClr val="574641"/>
                </a:solidFill>
                <a:latin typeface="Arial"/>
                <a:cs typeface="Arial"/>
              </a:rPr>
              <a:t>: </a:t>
            </a:r>
            <a:r>
              <a:rPr sz="1200" spc="-3" dirty="0">
                <a:solidFill>
                  <a:srgbClr val="574641"/>
                </a:solidFill>
                <a:latin typeface="Arial"/>
                <a:cs typeface="Arial"/>
              </a:rPr>
              <a:t>période pendant laquelle  aucune indemnisation au titre de </a:t>
            </a:r>
            <a:r>
              <a:rPr sz="1200" spc="-6" dirty="0">
                <a:solidFill>
                  <a:srgbClr val="574641"/>
                </a:solidFill>
                <a:latin typeface="Arial"/>
                <a:cs typeface="Arial"/>
              </a:rPr>
              <a:t>la </a:t>
            </a:r>
            <a:r>
              <a:rPr sz="1200" spc="-3" dirty="0">
                <a:solidFill>
                  <a:srgbClr val="574641"/>
                </a:solidFill>
                <a:latin typeface="Arial"/>
                <a:cs typeface="Arial"/>
              </a:rPr>
              <a:t>garantie ne sera calculée  </a:t>
            </a:r>
            <a:r>
              <a:rPr sz="1200" dirty="0">
                <a:solidFill>
                  <a:srgbClr val="574641"/>
                </a:solidFill>
                <a:latin typeface="Arial"/>
                <a:cs typeface="Arial"/>
              </a:rPr>
              <a:t>et</a:t>
            </a:r>
            <a:r>
              <a:rPr sz="1200" spc="-10" dirty="0">
                <a:solidFill>
                  <a:srgbClr val="574641"/>
                </a:solidFill>
                <a:latin typeface="Arial"/>
                <a:cs typeface="Arial"/>
              </a:rPr>
              <a:t> </a:t>
            </a:r>
            <a:r>
              <a:rPr sz="1200" spc="-3" dirty="0">
                <a:solidFill>
                  <a:srgbClr val="574641"/>
                </a:solidFill>
                <a:latin typeface="Arial"/>
                <a:cs typeface="Arial"/>
              </a:rPr>
              <a:t>payée.</a:t>
            </a:r>
            <a:endParaRPr sz="12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5" name="object 4">
            <a:extLst>
              <a:ext uri="{FF2B5EF4-FFF2-40B4-BE49-F238E27FC236}">
                <a16:creationId xmlns:a16="http://schemas.microsoft.com/office/drawing/2014/main" id="{EA898597-C0E8-F029-242D-192335B66D71}"/>
              </a:ext>
            </a:extLst>
          </p:cNvPr>
          <p:cNvSpPr txBox="1"/>
          <p:nvPr/>
        </p:nvSpPr>
        <p:spPr>
          <a:xfrm>
            <a:off x="4794136" y="3312740"/>
            <a:ext cx="4643421" cy="600694"/>
          </a:xfrm>
          <a:prstGeom prst="rect">
            <a:avLst/>
          </a:prstGeom>
        </p:spPr>
        <p:txBody>
          <a:bodyPr vert="horz" wrap="square" lIns="0" tIns="8145" rIns="0" bIns="0" rtlCol="0">
            <a:spAutoFit/>
          </a:bodyPr>
          <a:lstStyle/>
          <a:p>
            <a:pPr marL="118499" marR="3259" indent="-110761" defTabSz="586380">
              <a:spcBef>
                <a:spcPts val="64"/>
              </a:spcBef>
              <a:buClr>
                <a:srgbClr val="FFCD00"/>
              </a:buClr>
              <a:buSzPct val="177777"/>
              <a:buFont typeface="Arial"/>
              <a:buChar char="•"/>
              <a:tabLst>
                <a:tab pos="118904" algn="l"/>
              </a:tabLst>
            </a:pPr>
            <a:r>
              <a:rPr sz="1200" b="1" dirty="0">
                <a:solidFill>
                  <a:srgbClr val="574641"/>
                </a:solidFill>
                <a:latin typeface="Arial"/>
                <a:cs typeface="Arial"/>
              </a:rPr>
              <a:t>le </a:t>
            </a:r>
            <a:r>
              <a:rPr sz="1200" b="1" spc="-3" dirty="0">
                <a:solidFill>
                  <a:srgbClr val="574641"/>
                </a:solidFill>
                <a:latin typeface="Arial"/>
                <a:cs typeface="Arial"/>
              </a:rPr>
              <a:t>profil de risque </a:t>
            </a:r>
            <a:r>
              <a:rPr sz="1200" b="1" dirty="0">
                <a:solidFill>
                  <a:srgbClr val="574641"/>
                </a:solidFill>
                <a:latin typeface="Arial"/>
                <a:cs typeface="Arial"/>
              </a:rPr>
              <a:t>de </a:t>
            </a:r>
            <a:r>
              <a:rPr sz="1200" b="1" spc="-3" dirty="0">
                <a:solidFill>
                  <a:srgbClr val="574641"/>
                </a:solidFill>
                <a:latin typeface="Arial"/>
                <a:cs typeface="Arial"/>
              </a:rPr>
              <a:t>l’acheteur industriel à l'appui d'une  </a:t>
            </a:r>
            <a:r>
              <a:rPr sz="1200" b="1" dirty="0">
                <a:solidFill>
                  <a:srgbClr val="574641"/>
                </a:solidFill>
                <a:latin typeface="Arial"/>
                <a:cs typeface="Arial"/>
              </a:rPr>
              <a:t>notation</a:t>
            </a:r>
            <a:r>
              <a:rPr sz="1200" b="1" spc="-6" dirty="0">
                <a:solidFill>
                  <a:srgbClr val="574641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574641"/>
                </a:solidFill>
                <a:latin typeface="Arial"/>
                <a:cs typeface="Arial"/>
              </a:rPr>
              <a:t>Fiben.</a:t>
            </a:r>
            <a:endParaRPr sz="1200" dirty="0">
              <a:solidFill>
                <a:prstClr val="black"/>
              </a:solidFill>
              <a:latin typeface="Arial"/>
              <a:cs typeface="Arial"/>
            </a:endParaRPr>
          </a:p>
          <a:p>
            <a:pPr marL="118499" indent="-110761" defTabSz="586380">
              <a:spcBef>
                <a:spcPts val="253"/>
              </a:spcBef>
              <a:buClr>
                <a:srgbClr val="FFCD00"/>
              </a:buClr>
              <a:buSzPct val="177777"/>
              <a:buFont typeface="Arial"/>
              <a:buChar char="•"/>
              <a:tabLst>
                <a:tab pos="118904" algn="l"/>
              </a:tabLst>
            </a:pPr>
            <a:r>
              <a:rPr sz="1200" b="1" dirty="0">
                <a:solidFill>
                  <a:srgbClr val="574641"/>
                </a:solidFill>
                <a:latin typeface="Arial"/>
                <a:cs typeface="Arial"/>
              </a:rPr>
              <a:t>les perspectives des prix du </a:t>
            </a:r>
            <a:r>
              <a:rPr sz="1200" b="1" spc="-3" dirty="0">
                <a:solidFill>
                  <a:srgbClr val="574641"/>
                </a:solidFill>
                <a:latin typeface="Arial"/>
                <a:cs typeface="Arial"/>
              </a:rPr>
              <a:t>marché </a:t>
            </a:r>
            <a:r>
              <a:rPr sz="1200" b="1" dirty="0">
                <a:solidFill>
                  <a:srgbClr val="574641"/>
                </a:solidFill>
                <a:latin typeface="Arial"/>
                <a:cs typeface="Arial"/>
              </a:rPr>
              <a:t>de</a:t>
            </a:r>
            <a:r>
              <a:rPr sz="1200" b="1" spc="-55" dirty="0">
                <a:solidFill>
                  <a:srgbClr val="574641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574641"/>
                </a:solidFill>
                <a:latin typeface="Arial"/>
                <a:cs typeface="Arial"/>
              </a:rPr>
              <a:t>l’électricité.</a:t>
            </a:r>
            <a:endParaRPr sz="12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6" name="object 29">
            <a:extLst>
              <a:ext uri="{FF2B5EF4-FFF2-40B4-BE49-F238E27FC236}">
                <a16:creationId xmlns:a16="http://schemas.microsoft.com/office/drawing/2014/main" id="{CCB2BFEF-B8D4-5FA3-43D7-686E844A92E1}"/>
              </a:ext>
            </a:extLst>
          </p:cNvPr>
          <p:cNvSpPr txBox="1"/>
          <p:nvPr/>
        </p:nvSpPr>
        <p:spPr>
          <a:xfrm>
            <a:off x="441229" y="1008912"/>
            <a:ext cx="4092132" cy="2231910"/>
          </a:xfrm>
          <a:prstGeom prst="rect">
            <a:avLst/>
          </a:prstGeom>
        </p:spPr>
        <p:txBody>
          <a:bodyPr vert="horz" wrap="square" lIns="0" tIns="8145" rIns="0" bIns="0" rtlCol="0">
            <a:spAutoFit/>
          </a:bodyPr>
          <a:lstStyle/>
          <a:p>
            <a:pPr marL="118499" indent="-110761" defTabSz="586380">
              <a:spcBef>
                <a:spcPts val="64"/>
              </a:spcBef>
              <a:buClr>
                <a:srgbClr val="FFCD00"/>
              </a:buClr>
              <a:buSzPct val="177777"/>
              <a:buFont typeface="Arial"/>
              <a:buChar char="•"/>
              <a:tabLst>
                <a:tab pos="118904" algn="l"/>
              </a:tabLst>
            </a:pPr>
            <a:r>
              <a:rPr sz="1200" b="1" spc="-3" dirty="0">
                <a:solidFill>
                  <a:srgbClr val="574641"/>
                </a:solidFill>
                <a:latin typeface="Arial"/>
                <a:cs typeface="Arial"/>
              </a:rPr>
              <a:t>Acheteur avec </a:t>
            </a:r>
            <a:r>
              <a:rPr sz="1200" b="1" dirty="0">
                <a:solidFill>
                  <a:srgbClr val="574641"/>
                </a:solidFill>
                <a:latin typeface="Arial"/>
                <a:cs typeface="Arial"/>
              </a:rPr>
              <a:t>un siège social en</a:t>
            </a:r>
            <a:r>
              <a:rPr sz="1200" b="1" spc="-29" dirty="0">
                <a:solidFill>
                  <a:srgbClr val="574641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574641"/>
                </a:solidFill>
                <a:latin typeface="Arial"/>
                <a:cs typeface="Arial"/>
              </a:rPr>
              <a:t>France.</a:t>
            </a:r>
            <a:endParaRPr sz="1200" dirty="0">
              <a:solidFill>
                <a:prstClr val="black"/>
              </a:solidFill>
              <a:latin typeface="Arial"/>
              <a:cs typeface="Arial"/>
            </a:endParaRPr>
          </a:p>
          <a:p>
            <a:pPr marL="118499" indent="-110761" defTabSz="586380">
              <a:spcBef>
                <a:spcPts val="253"/>
              </a:spcBef>
              <a:buClr>
                <a:srgbClr val="FFCD00"/>
              </a:buClr>
              <a:buSzPct val="177777"/>
              <a:buFont typeface="Arial"/>
              <a:buChar char="•"/>
              <a:tabLst>
                <a:tab pos="118904" algn="l"/>
              </a:tabLst>
            </a:pPr>
            <a:r>
              <a:rPr sz="1200" b="1" dirty="0">
                <a:solidFill>
                  <a:srgbClr val="574641"/>
                </a:solidFill>
                <a:latin typeface="Arial"/>
                <a:cs typeface="Arial"/>
              </a:rPr>
              <a:t>Sites de </a:t>
            </a:r>
            <a:r>
              <a:rPr sz="1200" b="1" spc="-3" dirty="0">
                <a:solidFill>
                  <a:srgbClr val="574641"/>
                </a:solidFill>
                <a:latin typeface="Arial"/>
                <a:cs typeface="Arial"/>
              </a:rPr>
              <a:t>consommation </a:t>
            </a:r>
            <a:r>
              <a:rPr sz="1200" b="1" dirty="0" err="1">
                <a:solidFill>
                  <a:srgbClr val="574641"/>
                </a:solidFill>
                <a:latin typeface="Arial"/>
                <a:cs typeface="Arial"/>
              </a:rPr>
              <a:t>en</a:t>
            </a:r>
            <a:r>
              <a:rPr sz="1200" b="1" spc="105" dirty="0">
                <a:solidFill>
                  <a:srgbClr val="574641"/>
                </a:solidFill>
                <a:latin typeface="Arial"/>
                <a:cs typeface="Arial"/>
              </a:rPr>
              <a:t> </a:t>
            </a:r>
            <a:r>
              <a:rPr sz="1200" b="1" spc="-3" dirty="0" err="1">
                <a:solidFill>
                  <a:srgbClr val="574641"/>
                </a:solidFill>
                <a:latin typeface="Arial"/>
                <a:cs typeface="Arial"/>
              </a:rPr>
              <a:t>Métropole</a:t>
            </a:r>
            <a:r>
              <a:rPr lang="fr-FR" sz="1200" dirty="0">
                <a:solidFill>
                  <a:srgbClr val="574641"/>
                </a:solidFill>
                <a:latin typeface="Arial"/>
                <a:cs typeface="Arial"/>
              </a:rPr>
              <a:t>(Pas </a:t>
            </a:r>
            <a:r>
              <a:rPr sz="1200" dirty="0" err="1">
                <a:solidFill>
                  <a:srgbClr val="574641"/>
                </a:solidFill>
                <a:latin typeface="Arial"/>
                <a:cs typeface="Arial"/>
              </a:rPr>
              <a:t>d’achat</a:t>
            </a:r>
            <a:r>
              <a:rPr sz="1200" dirty="0">
                <a:solidFill>
                  <a:srgbClr val="574641"/>
                </a:solidFill>
                <a:latin typeface="Arial"/>
                <a:cs typeface="Arial"/>
              </a:rPr>
              <a:t> </a:t>
            </a:r>
            <a:r>
              <a:rPr sz="1200" spc="-3" dirty="0">
                <a:solidFill>
                  <a:srgbClr val="574641"/>
                </a:solidFill>
                <a:latin typeface="Arial"/>
                <a:cs typeface="Arial"/>
              </a:rPr>
              <a:t>pour</a:t>
            </a:r>
            <a:r>
              <a:rPr sz="1200" spc="-29" dirty="0">
                <a:solidFill>
                  <a:srgbClr val="574641"/>
                </a:solidFill>
                <a:latin typeface="Arial"/>
                <a:cs typeface="Arial"/>
              </a:rPr>
              <a:t> </a:t>
            </a:r>
            <a:r>
              <a:rPr sz="1200" spc="-3" dirty="0">
                <a:solidFill>
                  <a:srgbClr val="574641"/>
                </a:solidFill>
                <a:latin typeface="Arial"/>
                <a:cs typeface="Arial"/>
              </a:rPr>
              <a:t>revente).</a:t>
            </a:r>
            <a:endParaRPr sz="1200" dirty="0">
              <a:solidFill>
                <a:prstClr val="black"/>
              </a:solidFill>
              <a:latin typeface="Arial"/>
              <a:cs typeface="Arial"/>
            </a:endParaRPr>
          </a:p>
          <a:p>
            <a:pPr marL="118499" marR="3259" indent="-110761" algn="just" defTabSz="586380">
              <a:spcBef>
                <a:spcPts val="261"/>
              </a:spcBef>
              <a:buClr>
                <a:srgbClr val="FFCD00"/>
              </a:buClr>
              <a:buSzPct val="177777"/>
              <a:buFont typeface="Arial"/>
              <a:buChar char="•"/>
              <a:tabLst>
                <a:tab pos="118904" algn="l"/>
              </a:tabLst>
            </a:pPr>
            <a:r>
              <a:rPr sz="1200" b="1" spc="-3" dirty="0">
                <a:solidFill>
                  <a:srgbClr val="574641"/>
                </a:solidFill>
                <a:latin typeface="Arial"/>
                <a:cs typeface="Arial"/>
              </a:rPr>
              <a:t>Industriel </a:t>
            </a:r>
            <a:r>
              <a:rPr sz="1200" spc="-3" dirty="0">
                <a:solidFill>
                  <a:srgbClr val="574641"/>
                </a:solidFill>
                <a:latin typeface="Arial"/>
                <a:cs typeface="Arial"/>
              </a:rPr>
              <a:t>issu d’une des sections </a:t>
            </a:r>
            <a:r>
              <a:rPr sz="1200" spc="-6" dirty="0">
                <a:solidFill>
                  <a:srgbClr val="574641"/>
                </a:solidFill>
                <a:latin typeface="Arial"/>
                <a:cs typeface="Arial"/>
              </a:rPr>
              <a:t>de </a:t>
            </a:r>
            <a:r>
              <a:rPr sz="1200" spc="-10" dirty="0">
                <a:solidFill>
                  <a:srgbClr val="574641"/>
                </a:solidFill>
                <a:latin typeface="Arial"/>
                <a:cs typeface="Arial"/>
              </a:rPr>
              <a:t>la  </a:t>
            </a:r>
            <a:r>
              <a:rPr sz="1200" spc="-3" dirty="0">
                <a:solidFill>
                  <a:srgbClr val="574641"/>
                </a:solidFill>
                <a:latin typeface="Arial"/>
                <a:cs typeface="Arial"/>
              </a:rPr>
              <a:t>nomenclature d’activités françaises suivantes (sous-  réserve </a:t>
            </a:r>
            <a:r>
              <a:rPr sz="1200" dirty="0">
                <a:solidFill>
                  <a:srgbClr val="574641"/>
                </a:solidFill>
                <a:latin typeface="Arial"/>
                <a:cs typeface="Arial"/>
              </a:rPr>
              <a:t>de </a:t>
            </a:r>
            <a:r>
              <a:rPr sz="1200" spc="-3" dirty="0">
                <a:solidFill>
                  <a:srgbClr val="574641"/>
                </a:solidFill>
                <a:latin typeface="Arial"/>
                <a:cs typeface="Arial"/>
              </a:rPr>
              <a:t>comptabilité avec les politiques  d’exclusion sectorielle en vigueur </a:t>
            </a:r>
            <a:r>
              <a:rPr sz="1200" dirty="0">
                <a:solidFill>
                  <a:srgbClr val="574641"/>
                </a:solidFill>
                <a:latin typeface="Arial"/>
                <a:cs typeface="Arial"/>
              </a:rPr>
              <a:t>chez Bpifrance)</a:t>
            </a:r>
            <a:r>
              <a:rPr sz="1200" spc="-29" dirty="0">
                <a:solidFill>
                  <a:srgbClr val="574641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574641"/>
                </a:solidFill>
                <a:latin typeface="Arial"/>
                <a:cs typeface="Arial"/>
              </a:rPr>
              <a:t>:</a:t>
            </a:r>
            <a:endParaRPr sz="1200" dirty="0">
              <a:solidFill>
                <a:prstClr val="black"/>
              </a:solidFill>
              <a:latin typeface="Arial"/>
              <a:cs typeface="Arial"/>
            </a:endParaRPr>
          </a:p>
          <a:p>
            <a:pPr marL="411687" lvl="1" indent="-110761" defTabSz="586380">
              <a:spcBef>
                <a:spcPts val="253"/>
              </a:spcBef>
              <a:buClr>
                <a:srgbClr val="FFCD00"/>
              </a:buClr>
              <a:buSzPct val="177777"/>
              <a:buFontTx/>
              <a:buChar char="•"/>
              <a:tabLst>
                <a:tab pos="412095" algn="l"/>
              </a:tabLst>
            </a:pPr>
            <a:r>
              <a:rPr sz="1200" dirty="0">
                <a:solidFill>
                  <a:srgbClr val="574641"/>
                </a:solidFill>
                <a:latin typeface="Arial"/>
                <a:cs typeface="Arial"/>
              </a:rPr>
              <a:t>Section B (</a:t>
            </a:r>
            <a:r>
              <a:rPr sz="1200" b="1" dirty="0">
                <a:solidFill>
                  <a:srgbClr val="574641"/>
                </a:solidFill>
                <a:latin typeface="Arial"/>
                <a:cs typeface="Arial"/>
              </a:rPr>
              <a:t>industries </a:t>
            </a:r>
            <a:r>
              <a:rPr sz="1200" b="1" spc="-3" dirty="0">
                <a:solidFill>
                  <a:srgbClr val="574641"/>
                </a:solidFill>
                <a:latin typeface="Arial"/>
                <a:cs typeface="Arial"/>
              </a:rPr>
              <a:t>extractives</a:t>
            </a:r>
            <a:r>
              <a:rPr sz="1200" spc="-3" dirty="0">
                <a:solidFill>
                  <a:srgbClr val="574641"/>
                </a:solidFill>
                <a:latin typeface="Arial"/>
                <a:cs typeface="Arial"/>
              </a:rPr>
              <a:t>)</a:t>
            </a:r>
            <a:r>
              <a:rPr sz="1200" spc="-42" dirty="0">
                <a:solidFill>
                  <a:srgbClr val="574641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574641"/>
                </a:solidFill>
                <a:latin typeface="Arial"/>
                <a:cs typeface="Arial"/>
              </a:rPr>
              <a:t>;</a:t>
            </a:r>
            <a:endParaRPr sz="1200" dirty="0">
              <a:solidFill>
                <a:prstClr val="black"/>
              </a:solidFill>
              <a:latin typeface="Arial"/>
              <a:cs typeface="Arial"/>
            </a:endParaRPr>
          </a:p>
          <a:p>
            <a:pPr marL="411687" lvl="1" indent="-110761" defTabSz="586380">
              <a:spcBef>
                <a:spcPts val="253"/>
              </a:spcBef>
              <a:buClr>
                <a:srgbClr val="FFCD00"/>
              </a:buClr>
              <a:buSzPct val="177777"/>
              <a:buFontTx/>
              <a:buChar char="•"/>
              <a:tabLst>
                <a:tab pos="412095" algn="l"/>
              </a:tabLst>
            </a:pPr>
            <a:r>
              <a:rPr sz="1200" dirty="0">
                <a:solidFill>
                  <a:srgbClr val="574641"/>
                </a:solidFill>
                <a:latin typeface="Arial"/>
                <a:cs typeface="Arial"/>
              </a:rPr>
              <a:t>Section </a:t>
            </a:r>
            <a:r>
              <a:rPr sz="1200" spc="-3" dirty="0">
                <a:solidFill>
                  <a:srgbClr val="574641"/>
                </a:solidFill>
                <a:latin typeface="Arial"/>
                <a:cs typeface="Arial"/>
              </a:rPr>
              <a:t>C </a:t>
            </a:r>
            <a:r>
              <a:rPr sz="1200" dirty="0">
                <a:solidFill>
                  <a:srgbClr val="574641"/>
                </a:solidFill>
                <a:latin typeface="Arial"/>
                <a:cs typeface="Arial"/>
              </a:rPr>
              <a:t>(</a:t>
            </a:r>
            <a:r>
              <a:rPr sz="1200" b="1" dirty="0">
                <a:solidFill>
                  <a:srgbClr val="574641"/>
                </a:solidFill>
                <a:latin typeface="Arial"/>
                <a:cs typeface="Arial"/>
              </a:rPr>
              <a:t>industries</a:t>
            </a:r>
            <a:r>
              <a:rPr sz="1200" b="1" spc="-38" dirty="0">
                <a:solidFill>
                  <a:srgbClr val="574641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574641"/>
                </a:solidFill>
                <a:latin typeface="Arial"/>
                <a:cs typeface="Arial"/>
              </a:rPr>
              <a:t>manufacturières</a:t>
            </a:r>
            <a:r>
              <a:rPr sz="1200" dirty="0">
                <a:solidFill>
                  <a:srgbClr val="574641"/>
                </a:solidFill>
                <a:latin typeface="Arial"/>
                <a:cs typeface="Arial"/>
              </a:rPr>
              <a:t>).</a:t>
            </a:r>
            <a:endParaRPr sz="1200" dirty="0">
              <a:solidFill>
                <a:prstClr val="black"/>
              </a:solidFill>
              <a:latin typeface="Arial"/>
              <a:cs typeface="Arial"/>
            </a:endParaRPr>
          </a:p>
          <a:p>
            <a:pPr marL="118499" marR="4479" indent="-110761" algn="just" defTabSz="586380">
              <a:spcBef>
                <a:spcPts val="261"/>
              </a:spcBef>
              <a:buClr>
                <a:srgbClr val="FFCD00"/>
              </a:buClr>
              <a:buSzPct val="177777"/>
              <a:buFontTx/>
              <a:buChar char="•"/>
              <a:tabLst>
                <a:tab pos="118904" algn="l"/>
              </a:tabLst>
            </a:pPr>
            <a:r>
              <a:rPr sz="1200" spc="-3" dirty="0">
                <a:solidFill>
                  <a:srgbClr val="574641"/>
                </a:solidFill>
                <a:latin typeface="Arial"/>
                <a:cs typeface="Arial"/>
              </a:rPr>
              <a:t>Selon </a:t>
            </a:r>
            <a:r>
              <a:rPr sz="1200" spc="-6" dirty="0">
                <a:solidFill>
                  <a:srgbClr val="574641"/>
                </a:solidFill>
                <a:latin typeface="Arial"/>
                <a:cs typeface="Arial"/>
              </a:rPr>
              <a:t>la </a:t>
            </a:r>
            <a:r>
              <a:rPr sz="1200" spc="-3" dirty="0">
                <a:solidFill>
                  <a:srgbClr val="574641"/>
                </a:solidFill>
                <a:latin typeface="Arial"/>
                <a:cs typeface="Arial"/>
              </a:rPr>
              <a:t>réglementation européenne </a:t>
            </a:r>
            <a:r>
              <a:rPr sz="1200" spc="-6" dirty="0">
                <a:solidFill>
                  <a:srgbClr val="574641"/>
                </a:solidFill>
                <a:latin typeface="Arial"/>
                <a:cs typeface="Arial"/>
              </a:rPr>
              <a:t>en </a:t>
            </a:r>
            <a:r>
              <a:rPr sz="1200" spc="-3" dirty="0">
                <a:solidFill>
                  <a:srgbClr val="574641"/>
                </a:solidFill>
                <a:latin typeface="Arial"/>
                <a:cs typeface="Arial"/>
              </a:rPr>
              <a:t>vigueur,  </a:t>
            </a:r>
            <a:r>
              <a:rPr sz="1200" dirty="0">
                <a:solidFill>
                  <a:srgbClr val="574641"/>
                </a:solidFill>
                <a:latin typeface="Arial"/>
                <a:cs typeface="Arial"/>
              </a:rPr>
              <a:t>sont </a:t>
            </a:r>
            <a:r>
              <a:rPr sz="1200" spc="-3" dirty="0">
                <a:solidFill>
                  <a:srgbClr val="574641"/>
                </a:solidFill>
                <a:latin typeface="Arial"/>
                <a:cs typeface="Arial"/>
              </a:rPr>
              <a:t>exclues de la garantie les « </a:t>
            </a:r>
            <a:r>
              <a:rPr sz="1200" dirty="0">
                <a:solidFill>
                  <a:srgbClr val="574641"/>
                </a:solidFill>
                <a:latin typeface="Arial"/>
                <a:cs typeface="Arial"/>
              </a:rPr>
              <a:t>Entreprises </a:t>
            </a:r>
            <a:r>
              <a:rPr sz="1200" spc="-10" dirty="0">
                <a:solidFill>
                  <a:srgbClr val="574641"/>
                </a:solidFill>
                <a:latin typeface="Arial"/>
                <a:cs typeface="Arial"/>
              </a:rPr>
              <a:t>en  </a:t>
            </a:r>
            <a:r>
              <a:rPr sz="1200" dirty="0">
                <a:solidFill>
                  <a:srgbClr val="574641"/>
                </a:solidFill>
                <a:latin typeface="Arial"/>
                <a:cs typeface="Arial"/>
              </a:rPr>
              <a:t>difficulté</a:t>
            </a:r>
            <a:r>
              <a:rPr sz="1200" spc="-19" dirty="0">
                <a:solidFill>
                  <a:srgbClr val="574641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574641"/>
                </a:solidFill>
                <a:latin typeface="Arial"/>
                <a:cs typeface="Arial"/>
              </a:rPr>
              <a:t>».</a:t>
            </a:r>
            <a:endParaRPr sz="12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7" name="object 36">
            <a:extLst>
              <a:ext uri="{FF2B5EF4-FFF2-40B4-BE49-F238E27FC236}">
                <a16:creationId xmlns:a16="http://schemas.microsoft.com/office/drawing/2014/main" id="{C3429218-1C18-B683-5218-B58C03308DCC}"/>
              </a:ext>
            </a:extLst>
          </p:cNvPr>
          <p:cNvSpPr txBox="1"/>
          <p:nvPr/>
        </p:nvSpPr>
        <p:spPr>
          <a:xfrm>
            <a:off x="4970549" y="4187676"/>
            <a:ext cx="2460718" cy="223257"/>
          </a:xfrm>
          <a:prstGeom prst="rect">
            <a:avLst/>
          </a:prstGeom>
        </p:spPr>
        <p:txBody>
          <a:bodyPr vert="horz" wrap="square" lIns="0" tIns="7738" rIns="0" bIns="0" rtlCol="0">
            <a:spAutoFit/>
          </a:bodyPr>
          <a:lstStyle/>
          <a:p>
            <a:pPr marL="8145" defTabSz="586380">
              <a:spcBef>
                <a:spcPts val="61"/>
              </a:spcBef>
            </a:pPr>
            <a:r>
              <a:rPr sz="1400" spc="-6" dirty="0">
                <a:solidFill>
                  <a:srgbClr val="5E514D"/>
                </a:solidFill>
                <a:latin typeface="Impact"/>
                <a:cs typeface="Impact"/>
              </a:rPr>
              <a:t>LES </a:t>
            </a:r>
            <a:r>
              <a:rPr sz="1400" spc="-3" dirty="0">
                <a:solidFill>
                  <a:srgbClr val="5E514D"/>
                </a:solidFill>
                <a:latin typeface="Impact"/>
                <a:cs typeface="Impact"/>
              </a:rPr>
              <a:t>BÉNÉFICES DU</a:t>
            </a:r>
            <a:r>
              <a:rPr sz="1400" spc="-19" dirty="0">
                <a:solidFill>
                  <a:srgbClr val="5E514D"/>
                </a:solidFill>
                <a:latin typeface="Impact"/>
                <a:cs typeface="Impact"/>
              </a:rPr>
              <a:t> </a:t>
            </a:r>
            <a:r>
              <a:rPr sz="1400" spc="-6" dirty="0">
                <a:solidFill>
                  <a:srgbClr val="5E514D"/>
                </a:solidFill>
                <a:latin typeface="Impact"/>
                <a:cs typeface="Impact"/>
              </a:rPr>
              <a:t>DISPOSITIF</a:t>
            </a:r>
            <a:endParaRPr sz="1400" dirty="0">
              <a:solidFill>
                <a:srgbClr val="5E514D"/>
              </a:solidFill>
              <a:latin typeface="Impact"/>
              <a:cs typeface="Impact"/>
            </a:endParaRPr>
          </a:p>
        </p:txBody>
      </p:sp>
      <p:sp>
        <p:nvSpPr>
          <p:cNvPr id="8" name="object 38">
            <a:extLst>
              <a:ext uri="{FF2B5EF4-FFF2-40B4-BE49-F238E27FC236}">
                <a16:creationId xmlns:a16="http://schemas.microsoft.com/office/drawing/2014/main" id="{473498BE-228D-4166-2936-0BDB12E60192}"/>
              </a:ext>
            </a:extLst>
          </p:cNvPr>
          <p:cNvSpPr txBox="1"/>
          <p:nvPr/>
        </p:nvSpPr>
        <p:spPr>
          <a:xfrm>
            <a:off x="639110" y="3641138"/>
            <a:ext cx="3984357" cy="1128633"/>
          </a:xfrm>
          <a:prstGeom prst="rect">
            <a:avLst/>
          </a:prstGeom>
        </p:spPr>
        <p:txBody>
          <a:bodyPr vert="horz" wrap="square" lIns="0" tIns="7738" rIns="0" bIns="0" rtlCol="0">
            <a:spAutoFit/>
          </a:bodyPr>
          <a:lstStyle/>
          <a:p>
            <a:pPr marL="53752" defTabSz="586380">
              <a:spcBef>
                <a:spcPts val="61"/>
              </a:spcBef>
            </a:pPr>
            <a:r>
              <a:rPr sz="1200" spc="-6" dirty="0">
                <a:solidFill>
                  <a:srgbClr val="5E514D"/>
                </a:solidFill>
                <a:latin typeface="Impact"/>
                <a:cs typeface="Impact"/>
              </a:rPr>
              <a:t>LES </a:t>
            </a:r>
            <a:r>
              <a:rPr sz="1200" spc="-10" dirty="0">
                <a:solidFill>
                  <a:srgbClr val="5E514D"/>
                </a:solidFill>
                <a:latin typeface="Impact"/>
                <a:cs typeface="Impact"/>
              </a:rPr>
              <a:t>ATOUTS </a:t>
            </a:r>
            <a:r>
              <a:rPr sz="1200" spc="-3" dirty="0">
                <a:solidFill>
                  <a:srgbClr val="5E514D"/>
                </a:solidFill>
                <a:latin typeface="Impact"/>
                <a:cs typeface="Impact"/>
              </a:rPr>
              <a:t>DE</a:t>
            </a:r>
            <a:r>
              <a:rPr sz="1200" spc="10" dirty="0">
                <a:solidFill>
                  <a:srgbClr val="5E514D"/>
                </a:solidFill>
                <a:latin typeface="Impact"/>
                <a:cs typeface="Impact"/>
              </a:rPr>
              <a:t> </a:t>
            </a:r>
            <a:r>
              <a:rPr sz="1200" spc="-6" dirty="0">
                <a:solidFill>
                  <a:srgbClr val="5E514D"/>
                </a:solidFill>
                <a:latin typeface="Impact"/>
                <a:cs typeface="Impact"/>
              </a:rPr>
              <a:t>BPIFRANCE</a:t>
            </a:r>
            <a:endParaRPr sz="1200" dirty="0">
              <a:solidFill>
                <a:srgbClr val="5E514D"/>
              </a:solidFill>
              <a:latin typeface="Impact"/>
              <a:cs typeface="Impact"/>
            </a:endParaRPr>
          </a:p>
          <a:p>
            <a:pPr marL="118499" indent="-110761" defTabSz="586380">
              <a:spcBef>
                <a:spcPts val="176"/>
              </a:spcBef>
              <a:buSzPct val="177777"/>
              <a:buFont typeface="Arial"/>
              <a:buChar char="•"/>
              <a:tabLst>
                <a:tab pos="118904" algn="l"/>
              </a:tabLst>
            </a:pPr>
            <a:r>
              <a:rPr sz="1050" b="1" dirty="0">
                <a:solidFill>
                  <a:srgbClr val="5E514D"/>
                </a:solidFill>
                <a:latin typeface="Arial"/>
                <a:cs typeface="Arial"/>
              </a:rPr>
              <a:t>Seul </a:t>
            </a:r>
            <a:r>
              <a:rPr sz="1050" b="1" spc="-3" dirty="0">
                <a:solidFill>
                  <a:srgbClr val="5E514D"/>
                </a:solidFill>
                <a:latin typeface="Arial"/>
                <a:cs typeface="Arial"/>
              </a:rPr>
              <a:t>acteur </a:t>
            </a:r>
            <a:r>
              <a:rPr sz="1050" b="1" dirty="0">
                <a:solidFill>
                  <a:srgbClr val="5E514D"/>
                </a:solidFill>
                <a:latin typeface="Arial"/>
                <a:cs typeface="Arial"/>
              </a:rPr>
              <a:t>du </a:t>
            </a:r>
            <a:r>
              <a:rPr sz="1050" b="1" spc="-3" dirty="0">
                <a:solidFill>
                  <a:srgbClr val="5E514D"/>
                </a:solidFill>
                <a:latin typeface="Arial"/>
                <a:cs typeface="Arial"/>
              </a:rPr>
              <a:t>marché français </a:t>
            </a:r>
            <a:r>
              <a:rPr sz="1050" spc="-3" dirty="0">
                <a:solidFill>
                  <a:srgbClr val="5E514D"/>
                </a:solidFill>
                <a:latin typeface="Arial"/>
                <a:cs typeface="Arial"/>
              </a:rPr>
              <a:t>à proposer </a:t>
            </a:r>
            <a:r>
              <a:rPr sz="1050" spc="-6" dirty="0">
                <a:solidFill>
                  <a:srgbClr val="5E514D"/>
                </a:solidFill>
                <a:latin typeface="Arial"/>
                <a:cs typeface="Arial"/>
              </a:rPr>
              <a:t>un</a:t>
            </a:r>
            <a:r>
              <a:rPr sz="1050" spc="38" dirty="0">
                <a:solidFill>
                  <a:srgbClr val="5E514D"/>
                </a:solidFill>
                <a:latin typeface="Arial"/>
                <a:cs typeface="Arial"/>
              </a:rPr>
              <a:t> </a:t>
            </a:r>
            <a:r>
              <a:rPr sz="1050" spc="-6" dirty="0" err="1">
                <a:solidFill>
                  <a:srgbClr val="5E514D"/>
                </a:solidFill>
                <a:latin typeface="Arial"/>
                <a:cs typeface="Arial"/>
              </a:rPr>
              <a:t>tel</a:t>
            </a:r>
            <a:r>
              <a:rPr lang="fr-FR" sz="1050" spc="-6" dirty="0">
                <a:solidFill>
                  <a:srgbClr val="5E514D"/>
                </a:solidFill>
                <a:latin typeface="Arial"/>
                <a:cs typeface="Arial"/>
              </a:rPr>
              <a:t> dispositif de garantie</a:t>
            </a:r>
            <a:endParaRPr sz="1050" dirty="0">
              <a:solidFill>
                <a:srgbClr val="5E514D"/>
              </a:solidFill>
              <a:latin typeface="Arial"/>
              <a:cs typeface="Arial"/>
            </a:endParaRPr>
          </a:p>
          <a:p>
            <a:pPr marL="118499" indent="-110761" defTabSz="586380">
              <a:spcBef>
                <a:spcPts val="776"/>
              </a:spcBef>
              <a:buSzPct val="177777"/>
              <a:buFontTx/>
              <a:buChar char="•"/>
              <a:tabLst>
                <a:tab pos="118904" algn="l"/>
              </a:tabLst>
            </a:pPr>
            <a:r>
              <a:rPr sz="1050" spc="-3" dirty="0">
                <a:solidFill>
                  <a:srgbClr val="5E514D"/>
                </a:solidFill>
                <a:latin typeface="Arial"/>
                <a:cs typeface="Arial"/>
              </a:rPr>
              <a:t>Un </a:t>
            </a:r>
            <a:r>
              <a:rPr sz="1050" b="1" spc="-3" dirty="0">
                <a:solidFill>
                  <a:srgbClr val="5E514D"/>
                </a:solidFill>
                <a:latin typeface="Arial"/>
                <a:cs typeface="Arial"/>
              </a:rPr>
              <a:t>réseau national </a:t>
            </a:r>
            <a:r>
              <a:rPr sz="1050" spc="-3" dirty="0">
                <a:solidFill>
                  <a:srgbClr val="5E514D"/>
                </a:solidFill>
                <a:latin typeface="Arial"/>
                <a:cs typeface="Arial"/>
              </a:rPr>
              <a:t>intervenant déjà </a:t>
            </a:r>
            <a:r>
              <a:rPr sz="1050" spc="-3" dirty="0" err="1">
                <a:solidFill>
                  <a:srgbClr val="5E514D"/>
                </a:solidFill>
                <a:latin typeface="Arial"/>
                <a:cs typeface="Arial"/>
              </a:rPr>
              <a:t>auprès</a:t>
            </a:r>
            <a:r>
              <a:rPr lang="fr-FR" sz="1050" spc="-3" dirty="0">
                <a:solidFill>
                  <a:srgbClr val="5E514D"/>
                </a:solidFill>
                <a:latin typeface="Arial"/>
                <a:cs typeface="Arial"/>
              </a:rPr>
              <a:t> des producteurs d’énergie renouvelable et</a:t>
            </a:r>
            <a:r>
              <a:rPr sz="1050" spc="32" dirty="0">
                <a:solidFill>
                  <a:srgbClr val="5E514D"/>
                </a:solidFill>
                <a:latin typeface="Arial"/>
                <a:cs typeface="Arial"/>
              </a:rPr>
              <a:t> </a:t>
            </a:r>
            <a:r>
              <a:rPr sz="1050" spc="-3" dirty="0">
                <a:solidFill>
                  <a:srgbClr val="5E514D"/>
                </a:solidFill>
                <a:latin typeface="Arial"/>
                <a:cs typeface="Arial"/>
              </a:rPr>
              <a:t>des</a:t>
            </a:r>
            <a:r>
              <a:rPr lang="fr-FR" sz="1050" spc="-3" dirty="0">
                <a:solidFill>
                  <a:srgbClr val="5E514D"/>
                </a:solidFill>
                <a:latin typeface="Arial"/>
                <a:cs typeface="Arial"/>
              </a:rPr>
              <a:t> </a:t>
            </a:r>
            <a:r>
              <a:rPr lang="fr-FR" sz="1050" spc="3" dirty="0">
                <a:solidFill>
                  <a:srgbClr val="5E514D"/>
                </a:solidFill>
                <a:latin typeface="Arial"/>
                <a:cs typeface="Arial"/>
              </a:rPr>
              <a:t>c</a:t>
            </a:r>
            <a:r>
              <a:rPr lang="fr-FR" sz="1050" spc="-3" dirty="0">
                <a:solidFill>
                  <a:srgbClr val="5E514D"/>
                </a:solidFill>
                <a:latin typeface="Arial"/>
                <a:cs typeface="Arial"/>
              </a:rPr>
              <a:t>o</a:t>
            </a:r>
            <a:r>
              <a:rPr lang="fr-FR" sz="1050" spc="-10" dirty="0">
                <a:solidFill>
                  <a:srgbClr val="5E514D"/>
                </a:solidFill>
                <a:latin typeface="Arial"/>
                <a:cs typeface="Arial"/>
              </a:rPr>
              <a:t>n</a:t>
            </a:r>
            <a:r>
              <a:rPr lang="fr-FR" sz="1050" spc="3" dirty="0">
                <a:solidFill>
                  <a:srgbClr val="5E514D"/>
                </a:solidFill>
                <a:latin typeface="Arial"/>
                <a:cs typeface="Arial"/>
              </a:rPr>
              <a:t>s</a:t>
            </a:r>
            <a:r>
              <a:rPr lang="fr-FR" sz="1050" spc="-10" dirty="0">
                <a:solidFill>
                  <a:srgbClr val="5E514D"/>
                </a:solidFill>
                <a:latin typeface="Arial"/>
                <a:cs typeface="Arial"/>
              </a:rPr>
              <a:t>o</a:t>
            </a:r>
            <a:r>
              <a:rPr lang="fr-FR" sz="1050" spc="3" dirty="0">
                <a:solidFill>
                  <a:srgbClr val="5E514D"/>
                </a:solidFill>
                <a:latin typeface="Arial"/>
                <a:cs typeface="Arial"/>
              </a:rPr>
              <a:t>mm</a:t>
            </a:r>
            <a:r>
              <a:rPr lang="fr-FR" sz="1050" spc="-10" dirty="0">
                <a:solidFill>
                  <a:srgbClr val="5E514D"/>
                </a:solidFill>
                <a:latin typeface="Arial"/>
                <a:cs typeface="Arial"/>
              </a:rPr>
              <a:t>a</a:t>
            </a:r>
            <a:r>
              <a:rPr lang="fr-FR" sz="1050" dirty="0">
                <a:solidFill>
                  <a:srgbClr val="5E514D"/>
                </a:solidFill>
                <a:latin typeface="Arial"/>
                <a:cs typeface="Arial"/>
              </a:rPr>
              <a:t>te</a:t>
            </a:r>
            <a:r>
              <a:rPr lang="fr-FR" sz="1050" spc="-3" dirty="0">
                <a:solidFill>
                  <a:srgbClr val="5E514D"/>
                </a:solidFill>
                <a:latin typeface="Arial"/>
                <a:cs typeface="Arial"/>
              </a:rPr>
              <a:t>u</a:t>
            </a:r>
            <a:r>
              <a:rPr lang="fr-FR" sz="1050" spc="-10" dirty="0">
                <a:solidFill>
                  <a:srgbClr val="5E514D"/>
                </a:solidFill>
                <a:latin typeface="Arial"/>
                <a:cs typeface="Arial"/>
              </a:rPr>
              <a:t>r</a:t>
            </a:r>
            <a:r>
              <a:rPr lang="fr-FR" sz="1050" dirty="0">
                <a:solidFill>
                  <a:srgbClr val="5E514D"/>
                </a:solidFill>
                <a:latin typeface="Arial"/>
                <a:cs typeface="Arial"/>
              </a:rPr>
              <a:t>s </a:t>
            </a:r>
            <a:r>
              <a:rPr lang="fr-FR" sz="1050" spc="-3" dirty="0">
                <a:solidFill>
                  <a:srgbClr val="5E514D"/>
                </a:solidFill>
                <a:latin typeface="Arial"/>
                <a:cs typeface="Arial"/>
              </a:rPr>
              <a:t>i</a:t>
            </a:r>
            <a:r>
              <a:rPr lang="fr-FR" sz="1050" spc="-10" dirty="0">
                <a:solidFill>
                  <a:srgbClr val="5E514D"/>
                </a:solidFill>
                <a:latin typeface="Arial"/>
                <a:cs typeface="Arial"/>
              </a:rPr>
              <a:t>n</a:t>
            </a:r>
            <a:r>
              <a:rPr lang="fr-FR" sz="1050" spc="-3" dirty="0">
                <a:solidFill>
                  <a:srgbClr val="5E514D"/>
                </a:solidFill>
                <a:latin typeface="Arial"/>
                <a:cs typeface="Arial"/>
              </a:rPr>
              <a:t>d</a:t>
            </a:r>
            <a:r>
              <a:rPr lang="fr-FR" sz="1050" spc="-10" dirty="0">
                <a:solidFill>
                  <a:srgbClr val="5E514D"/>
                </a:solidFill>
                <a:latin typeface="Arial"/>
                <a:cs typeface="Arial"/>
              </a:rPr>
              <a:t>u</a:t>
            </a:r>
            <a:r>
              <a:rPr lang="fr-FR" sz="1050" spc="3" dirty="0">
                <a:solidFill>
                  <a:srgbClr val="5E514D"/>
                </a:solidFill>
                <a:latin typeface="Arial"/>
                <a:cs typeface="Arial"/>
              </a:rPr>
              <a:t>s</a:t>
            </a:r>
            <a:r>
              <a:rPr lang="fr-FR" sz="1050" dirty="0">
                <a:solidFill>
                  <a:srgbClr val="5E514D"/>
                </a:solidFill>
                <a:latin typeface="Arial"/>
                <a:cs typeface="Arial"/>
              </a:rPr>
              <a:t>tr</a:t>
            </a:r>
            <a:r>
              <a:rPr lang="fr-FR" sz="1050" spc="3" dirty="0">
                <a:solidFill>
                  <a:srgbClr val="5E514D"/>
                </a:solidFill>
                <a:latin typeface="Arial"/>
                <a:cs typeface="Arial"/>
              </a:rPr>
              <a:t>i</a:t>
            </a:r>
            <a:r>
              <a:rPr lang="fr-FR" sz="1050" spc="-10" dirty="0">
                <a:solidFill>
                  <a:srgbClr val="5E514D"/>
                </a:solidFill>
                <a:latin typeface="Arial"/>
                <a:cs typeface="Arial"/>
              </a:rPr>
              <a:t>e</a:t>
            </a:r>
            <a:r>
              <a:rPr lang="fr-FR" sz="1050" spc="-3" dirty="0">
                <a:solidFill>
                  <a:srgbClr val="5E514D"/>
                </a:solidFill>
                <a:latin typeface="Arial"/>
                <a:cs typeface="Arial"/>
              </a:rPr>
              <a:t>l</a:t>
            </a:r>
            <a:r>
              <a:rPr lang="fr-FR" sz="1050" spc="-6" dirty="0">
                <a:solidFill>
                  <a:srgbClr val="5E514D"/>
                </a:solidFill>
                <a:latin typeface="Arial"/>
                <a:cs typeface="Arial"/>
              </a:rPr>
              <a:t>s</a:t>
            </a:r>
            <a:r>
              <a:rPr lang="fr-FR" sz="1050" dirty="0">
                <a:solidFill>
                  <a:srgbClr val="5E514D"/>
                </a:solidFill>
                <a:latin typeface="Arial"/>
                <a:cs typeface="Arial"/>
              </a:rPr>
              <a:t>, </a:t>
            </a:r>
            <a:r>
              <a:rPr lang="fr-FR" sz="1050" b="1" dirty="0">
                <a:solidFill>
                  <a:srgbClr val="5E514D"/>
                </a:solidFill>
                <a:latin typeface="Arial"/>
                <a:cs typeface="Arial"/>
              </a:rPr>
              <a:t>une </a:t>
            </a:r>
            <a:r>
              <a:rPr lang="fr-FR" sz="1050" b="1" spc="-3" dirty="0">
                <a:solidFill>
                  <a:srgbClr val="5E514D"/>
                </a:solidFill>
                <a:latin typeface="Arial"/>
                <a:cs typeface="Arial"/>
              </a:rPr>
              <a:t>é</a:t>
            </a:r>
            <a:r>
              <a:rPr lang="fr-FR" sz="1050" b="1" spc="-6" dirty="0">
                <a:solidFill>
                  <a:srgbClr val="5E514D"/>
                </a:solidFill>
                <a:latin typeface="Arial"/>
                <a:cs typeface="Arial"/>
              </a:rPr>
              <a:t>q</a:t>
            </a:r>
            <a:r>
              <a:rPr lang="fr-FR" sz="1050" b="1" dirty="0">
                <a:solidFill>
                  <a:srgbClr val="5E514D"/>
                </a:solidFill>
                <a:latin typeface="Arial"/>
                <a:cs typeface="Arial"/>
              </a:rPr>
              <a:t>ui</a:t>
            </a:r>
            <a:r>
              <a:rPr lang="fr-FR" sz="1050" b="1" spc="-6" dirty="0">
                <a:solidFill>
                  <a:srgbClr val="5E514D"/>
                </a:solidFill>
                <a:latin typeface="Arial"/>
                <a:cs typeface="Arial"/>
              </a:rPr>
              <a:t>p</a:t>
            </a:r>
            <a:r>
              <a:rPr lang="fr-FR" sz="1050" b="1" spc="-3" dirty="0">
                <a:solidFill>
                  <a:srgbClr val="5E514D"/>
                </a:solidFill>
                <a:latin typeface="Arial"/>
                <a:cs typeface="Arial"/>
              </a:rPr>
              <a:t>e  </a:t>
            </a:r>
            <a:r>
              <a:rPr lang="fr-FR" sz="1050" b="1" dirty="0">
                <a:solidFill>
                  <a:srgbClr val="5E514D"/>
                </a:solidFill>
                <a:latin typeface="Arial"/>
                <a:cs typeface="Arial"/>
              </a:rPr>
              <a:t>centralisée dédiée </a:t>
            </a:r>
            <a:r>
              <a:rPr lang="fr-FR" sz="1050" b="1" spc="-3" dirty="0">
                <a:solidFill>
                  <a:srgbClr val="5E514D"/>
                </a:solidFill>
                <a:latin typeface="Arial"/>
                <a:cs typeface="Arial"/>
              </a:rPr>
              <a:t>à ce</a:t>
            </a:r>
            <a:r>
              <a:rPr lang="fr-FR" sz="1050" b="1" spc="-38" dirty="0">
                <a:solidFill>
                  <a:srgbClr val="5E514D"/>
                </a:solidFill>
                <a:latin typeface="Arial"/>
                <a:cs typeface="Arial"/>
              </a:rPr>
              <a:t> </a:t>
            </a:r>
            <a:r>
              <a:rPr lang="fr-FR" sz="1050" b="1" dirty="0">
                <a:solidFill>
                  <a:srgbClr val="5E514D"/>
                </a:solidFill>
                <a:latin typeface="Arial"/>
                <a:cs typeface="Arial"/>
              </a:rPr>
              <a:t>dispositif.</a:t>
            </a:r>
            <a:endParaRPr lang="fr-FR" sz="1050" dirty="0">
              <a:solidFill>
                <a:srgbClr val="5E514D"/>
              </a:solidFill>
              <a:latin typeface="Arial"/>
              <a:cs typeface="Arial"/>
            </a:endParaRPr>
          </a:p>
        </p:txBody>
      </p:sp>
      <p:sp>
        <p:nvSpPr>
          <p:cNvPr id="9" name="object 52">
            <a:extLst>
              <a:ext uri="{FF2B5EF4-FFF2-40B4-BE49-F238E27FC236}">
                <a16:creationId xmlns:a16="http://schemas.microsoft.com/office/drawing/2014/main" id="{599CFB21-BE5A-471E-5926-2E4EF430C661}"/>
              </a:ext>
            </a:extLst>
          </p:cNvPr>
          <p:cNvSpPr txBox="1"/>
          <p:nvPr/>
        </p:nvSpPr>
        <p:spPr>
          <a:xfrm>
            <a:off x="4871315" y="4545639"/>
            <a:ext cx="980141" cy="469889"/>
          </a:xfrm>
          <a:prstGeom prst="rect">
            <a:avLst/>
          </a:prstGeom>
        </p:spPr>
        <p:txBody>
          <a:bodyPr vert="horz" wrap="square" lIns="0" tIns="8145" rIns="0" bIns="0" rtlCol="0">
            <a:spAutoFit/>
          </a:bodyPr>
          <a:lstStyle/>
          <a:p>
            <a:pPr marL="8145" marR="3259" defTabSz="586380">
              <a:spcBef>
                <a:spcPts val="64"/>
              </a:spcBef>
            </a:pPr>
            <a:r>
              <a:rPr lang="fr-FR" sz="1000" b="1" dirty="0">
                <a:solidFill>
                  <a:srgbClr val="5E514D"/>
                </a:solidFill>
                <a:latin typeface="Arial"/>
                <a:cs typeface="Arial"/>
              </a:rPr>
              <a:t>Pour les </a:t>
            </a:r>
            <a:r>
              <a:rPr sz="1000" b="1" dirty="0" err="1">
                <a:solidFill>
                  <a:srgbClr val="5E514D"/>
                </a:solidFill>
                <a:latin typeface="Arial"/>
                <a:cs typeface="Arial"/>
              </a:rPr>
              <a:t>produc</a:t>
            </a:r>
            <a:r>
              <a:rPr sz="1000" b="1" spc="-3" dirty="0" err="1">
                <a:solidFill>
                  <a:srgbClr val="5E514D"/>
                </a:solidFill>
                <a:latin typeface="Arial"/>
                <a:cs typeface="Arial"/>
              </a:rPr>
              <a:t>teurs</a:t>
            </a:r>
            <a:r>
              <a:rPr sz="1000" b="1" spc="-3" dirty="0">
                <a:solidFill>
                  <a:srgbClr val="5E514D"/>
                </a:solidFill>
                <a:latin typeface="Arial"/>
                <a:cs typeface="Arial"/>
              </a:rPr>
              <a:t>  ENR</a:t>
            </a:r>
            <a:endParaRPr sz="1000" dirty="0">
              <a:solidFill>
                <a:srgbClr val="5E514D"/>
              </a:solidFill>
              <a:latin typeface="Arial"/>
              <a:cs typeface="Arial"/>
            </a:endParaRPr>
          </a:p>
        </p:txBody>
      </p:sp>
      <p:sp>
        <p:nvSpPr>
          <p:cNvPr id="10" name="object 54">
            <a:extLst>
              <a:ext uri="{FF2B5EF4-FFF2-40B4-BE49-F238E27FC236}">
                <a16:creationId xmlns:a16="http://schemas.microsoft.com/office/drawing/2014/main" id="{18ECA019-E135-F177-3CEB-A921C2F4B01E}"/>
              </a:ext>
            </a:extLst>
          </p:cNvPr>
          <p:cNvSpPr txBox="1"/>
          <p:nvPr/>
        </p:nvSpPr>
        <p:spPr>
          <a:xfrm>
            <a:off x="4871316" y="5100489"/>
            <a:ext cx="785088" cy="469889"/>
          </a:xfrm>
          <a:prstGeom prst="rect">
            <a:avLst/>
          </a:prstGeom>
        </p:spPr>
        <p:txBody>
          <a:bodyPr vert="horz" wrap="square" lIns="0" tIns="8145" rIns="0" bIns="0" rtlCol="0">
            <a:spAutoFit/>
          </a:bodyPr>
          <a:lstStyle/>
          <a:p>
            <a:pPr marL="8145" marR="3259" defTabSz="586380">
              <a:spcBef>
                <a:spcPts val="64"/>
              </a:spcBef>
            </a:pPr>
            <a:r>
              <a:rPr sz="1000" b="1" dirty="0">
                <a:solidFill>
                  <a:srgbClr val="5E514D"/>
                </a:solidFill>
                <a:latin typeface="Arial"/>
                <a:cs typeface="Arial"/>
              </a:rPr>
              <a:t>Pour les  </a:t>
            </a:r>
            <a:r>
              <a:rPr sz="1000" b="1" spc="-3" dirty="0">
                <a:solidFill>
                  <a:srgbClr val="5E514D"/>
                </a:solidFill>
                <a:latin typeface="Arial"/>
                <a:cs typeface="Arial"/>
              </a:rPr>
              <a:t>acheteurs  </a:t>
            </a:r>
            <a:r>
              <a:rPr sz="1000" b="1" dirty="0">
                <a:solidFill>
                  <a:srgbClr val="5E514D"/>
                </a:solidFill>
                <a:latin typeface="Arial"/>
                <a:cs typeface="Arial"/>
              </a:rPr>
              <a:t>indu</a:t>
            </a:r>
            <a:r>
              <a:rPr sz="1000" b="1" spc="-3" dirty="0">
                <a:solidFill>
                  <a:srgbClr val="5E514D"/>
                </a:solidFill>
                <a:latin typeface="Arial"/>
                <a:cs typeface="Arial"/>
              </a:rPr>
              <a:t>s</a:t>
            </a:r>
            <a:r>
              <a:rPr sz="1000" b="1" dirty="0">
                <a:solidFill>
                  <a:srgbClr val="5E514D"/>
                </a:solidFill>
                <a:latin typeface="Arial"/>
                <a:cs typeface="Arial"/>
              </a:rPr>
              <a:t>triels</a:t>
            </a:r>
            <a:endParaRPr sz="1000" dirty="0">
              <a:solidFill>
                <a:srgbClr val="5E514D"/>
              </a:solidFill>
              <a:latin typeface="Arial"/>
              <a:cs typeface="Arial"/>
            </a:endParaRPr>
          </a:p>
        </p:txBody>
      </p:sp>
      <p:sp>
        <p:nvSpPr>
          <p:cNvPr id="11" name="object 69">
            <a:extLst>
              <a:ext uri="{FF2B5EF4-FFF2-40B4-BE49-F238E27FC236}">
                <a16:creationId xmlns:a16="http://schemas.microsoft.com/office/drawing/2014/main" id="{A9110179-696D-2D45-EF14-5284DE419285}"/>
              </a:ext>
            </a:extLst>
          </p:cNvPr>
          <p:cNvSpPr txBox="1"/>
          <p:nvPr/>
        </p:nvSpPr>
        <p:spPr>
          <a:xfrm>
            <a:off x="5755637" y="5005549"/>
            <a:ext cx="3941101" cy="964791"/>
          </a:xfrm>
          <a:prstGeom prst="rect">
            <a:avLst/>
          </a:prstGeom>
        </p:spPr>
        <p:txBody>
          <a:bodyPr vert="horz" wrap="square" lIns="0" tIns="6516" rIns="0" bIns="0" rtlCol="0">
            <a:spAutoFit/>
          </a:bodyPr>
          <a:lstStyle/>
          <a:p>
            <a:pPr marL="118499" marR="3259" indent="-110761" algn="just" defTabSz="586380">
              <a:lnSpc>
                <a:spcPct val="101600"/>
              </a:lnSpc>
              <a:spcBef>
                <a:spcPts val="51"/>
              </a:spcBef>
              <a:buSzPct val="177777"/>
              <a:buFontTx/>
              <a:buChar char="•"/>
              <a:tabLst>
                <a:tab pos="118904" algn="l"/>
              </a:tabLst>
            </a:pPr>
            <a:r>
              <a:rPr sz="1000" spc="-3" dirty="0">
                <a:solidFill>
                  <a:srgbClr val="5E514D"/>
                </a:solidFill>
                <a:latin typeface="Arial"/>
                <a:cs typeface="Arial"/>
              </a:rPr>
              <a:t>Disposer d’une </a:t>
            </a:r>
            <a:r>
              <a:rPr sz="1000" b="1" spc="-3" dirty="0">
                <a:solidFill>
                  <a:srgbClr val="5E514D"/>
                </a:solidFill>
                <a:latin typeface="Arial"/>
                <a:cs typeface="Arial"/>
              </a:rPr>
              <a:t>visibilité </a:t>
            </a:r>
            <a:r>
              <a:rPr sz="1000" dirty="0">
                <a:solidFill>
                  <a:srgbClr val="5E514D"/>
                </a:solidFill>
                <a:latin typeface="Arial"/>
                <a:cs typeface="Arial"/>
              </a:rPr>
              <a:t>et </a:t>
            </a:r>
            <a:r>
              <a:rPr sz="1000" spc="-3" dirty="0">
                <a:solidFill>
                  <a:srgbClr val="5E514D"/>
                </a:solidFill>
                <a:latin typeface="Arial"/>
                <a:cs typeface="Arial"/>
              </a:rPr>
              <a:t>d’une </a:t>
            </a:r>
            <a:r>
              <a:rPr sz="1000" b="1" spc="-3" dirty="0">
                <a:solidFill>
                  <a:srgbClr val="5E514D"/>
                </a:solidFill>
                <a:latin typeface="Arial"/>
                <a:cs typeface="Arial"/>
              </a:rPr>
              <a:t>stabilité </a:t>
            </a:r>
            <a:r>
              <a:rPr sz="1000" b="1" dirty="0">
                <a:solidFill>
                  <a:srgbClr val="5E514D"/>
                </a:solidFill>
                <a:latin typeface="Arial"/>
                <a:cs typeface="Arial"/>
              </a:rPr>
              <a:t>sur le </a:t>
            </a:r>
            <a:r>
              <a:rPr sz="1000" b="1" spc="-3" dirty="0">
                <a:solidFill>
                  <a:srgbClr val="5E514D"/>
                </a:solidFill>
                <a:latin typeface="Arial"/>
                <a:cs typeface="Arial"/>
              </a:rPr>
              <a:t>long  terme sur </a:t>
            </a:r>
            <a:r>
              <a:rPr sz="1000" b="1" dirty="0">
                <a:solidFill>
                  <a:srgbClr val="5E514D"/>
                </a:solidFill>
                <a:latin typeface="Arial"/>
                <a:cs typeface="Arial"/>
              </a:rPr>
              <a:t>une </a:t>
            </a:r>
            <a:r>
              <a:rPr sz="1000" b="1" spc="-3" dirty="0">
                <a:solidFill>
                  <a:srgbClr val="5E514D"/>
                </a:solidFill>
                <a:latin typeface="Arial"/>
                <a:cs typeface="Arial"/>
              </a:rPr>
              <a:t>partie </a:t>
            </a:r>
            <a:r>
              <a:rPr sz="1000" b="1" dirty="0">
                <a:solidFill>
                  <a:srgbClr val="5E514D"/>
                </a:solidFill>
                <a:latin typeface="Arial"/>
                <a:cs typeface="Arial"/>
              </a:rPr>
              <a:t>de leur </a:t>
            </a:r>
            <a:r>
              <a:rPr sz="1000" b="1" spc="-3" dirty="0">
                <a:solidFill>
                  <a:srgbClr val="5E514D"/>
                </a:solidFill>
                <a:latin typeface="Arial"/>
                <a:cs typeface="Arial"/>
              </a:rPr>
              <a:t>coût  d’approvisionnement </a:t>
            </a:r>
            <a:r>
              <a:rPr sz="1000" spc="-6" dirty="0">
                <a:solidFill>
                  <a:srgbClr val="5E514D"/>
                </a:solidFill>
                <a:latin typeface="Arial"/>
                <a:cs typeface="Arial"/>
              </a:rPr>
              <a:t>en </a:t>
            </a:r>
            <a:r>
              <a:rPr sz="1000" spc="-3" dirty="0">
                <a:solidFill>
                  <a:srgbClr val="5E514D"/>
                </a:solidFill>
                <a:latin typeface="Arial"/>
                <a:cs typeface="Arial"/>
              </a:rPr>
              <a:t>électricité décarbonée </a:t>
            </a:r>
            <a:r>
              <a:rPr sz="1000" dirty="0">
                <a:solidFill>
                  <a:srgbClr val="5E514D"/>
                </a:solidFill>
                <a:latin typeface="Arial"/>
                <a:cs typeface="Arial"/>
              </a:rPr>
              <a:t>et</a:t>
            </a:r>
            <a:r>
              <a:rPr sz="1000" spc="42" dirty="0">
                <a:solidFill>
                  <a:srgbClr val="5E514D"/>
                </a:solidFill>
                <a:latin typeface="Arial"/>
                <a:cs typeface="Arial"/>
              </a:rPr>
              <a:t> </a:t>
            </a:r>
            <a:r>
              <a:rPr sz="1000" spc="-3" dirty="0">
                <a:solidFill>
                  <a:srgbClr val="5E514D"/>
                </a:solidFill>
                <a:latin typeface="Arial"/>
                <a:cs typeface="Arial"/>
              </a:rPr>
              <a:t>d’un</a:t>
            </a:r>
            <a:endParaRPr sz="1000" dirty="0">
              <a:solidFill>
                <a:srgbClr val="5E514D"/>
              </a:solidFill>
              <a:latin typeface="Arial"/>
              <a:cs typeface="Arial"/>
            </a:endParaRPr>
          </a:p>
          <a:p>
            <a:pPr marL="118499" defTabSz="586380">
              <a:spcBef>
                <a:spcPts val="16"/>
              </a:spcBef>
            </a:pPr>
            <a:r>
              <a:rPr sz="1000" b="1" dirty="0">
                <a:solidFill>
                  <a:srgbClr val="5E514D"/>
                </a:solidFill>
                <a:latin typeface="Arial"/>
                <a:cs typeface="Arial"/>
              </a:rPr>
              <a:t>coût de commission fixé </a:t>
            </a:r>
            <a:r>
              <a:rPr sz="1000" spc="-3" dirty="0">
                <a:solidFill>
                  <a:srgbClr val="5E514D"/>
                </a:solidFill>
                <a:latin typeface="Arial"/>
                <a:cs typeface="Arial"/>
              </a:rPr>
              <a:t>pour la durée du</a:t>
            </a:r>
            <a:r>
              <a:rPr sz="1000" spc="-48" dirty="0">
                <a:solidFill>
                  <a:srgbClr val="5E514D"/>
                </a:solidFill>
                <a:latin typeface="Arial"/>
                <a:cs typeface="Arial"/>
              </a:rPr>
              <a:t> </a:t>
            </a:r>
            <a:r>
              <a:rPr sz="1000" dirty="0">
                <a:solidFill>
                  <a:srgbClr val="5E514D"/>
                </a:solidFill>
                <a:latin typeface="Arial"/>
                <a:cs typeface="Arial"/>
              </a:rPr>
              <a:t>contrat.</a:t>
            </a:r>
          </a:p>
          <a:p>
            <a:pPr marL="118499" indent="-110761" defTabSz="586380">
              <a:spcBef>
                <a:spcPts val="77"/>
              </a:spcBef>
              <a:buSzPct val="177777"/>
              <a:buFontTx/>
              <a:buChar char="•"/>
              <a:tabLst>
                <a:tab pos="118904" algn="l"/>
              </a:tabLst>
            </a:pPr>
            <a:r>
              <a:rPr sz="1000" spc="-3" dirty="0">
                <a:solidFill>
                  <a:srgbClr val="5E514D"/>
                </a:solidFill>
                <a:latin typeface="Arial"/>
                <a:cs typeface="Arial"/>
              </a:rPr>
              <a:t>Eviter la </a:t>
            </a:r>
            <a:r>
              <a:rPr sz="1000" b="1" dirty="0">
                <a:solidFill>
                  <a:srgbClr val="5E514D"/>
                </a:solidFill>
                <a:latin typeface="Arial"/>
                <a:cs typeface="Arial"/>
              </a:rPr>
              <a:t>sollicitation de </a:t>
            </a:r>
            <a:r>
              <a:rPr sz="1000" b="1" spc="-3" dirty="0">
                <a:solidFill>
                  <a:srgbClr val="5E514D"/>
                </a:solidFill>
                <a:latin typeface="Arial"/>
                <a:cs typeface="Arial"/>
              </a:rPr>
              <a:t>ses </a:t>
            </a:r>
            <a:r>
              <a:rPr sz="1000" b="1" dirty="0">
                <a:solidFill>
                  <a:srgbClr val="5E514D"/>
                </a:solidFill>
                <a:latin typeface="Arial"/>
                <a:cs typeface="Arial"/>
              </a:rPr>
              <a:t>concours</a:t>
            </a:r>
            <a:r>
              <a:rPr sz="1000" b="1" spc="-45" dirty="0">
                <a:solidFill>
                  <a:srgbClr val="5E514D"/>
                </a:solidFill>
                <a:latin typeface="Arial"/>
                <a:cs typeface="Arial"/>
              </a:rPr>
              <a:t> </a:t>
            </a:r>
            <a:r>
              <a:rPr sz="1000" b="1" dirty="0">
                <a:solidFill>
                  <a:srgbClr val="5E514D"/>
                </a:solidFill>
                <a:latin typeface="Arial"/>
                <a:cs typeface="Arial"/>
              </a:rPr>
              <a:t>bancaires</a:t>
            </a:r>
            <a:r>
              <a:rPr sz="1000" dirty="0">
                <a:solidFill>
                  <a:srgbClr val="5E514D"/>
                </a:solidFill>
                <a:latin typeface="Arial"/>
                <a:cs typeface="Arial"/>
              </a:rPr>
              <a:t>.</a:t>
            </a:r>
          </a:p>
          <a:p>
            <a:pPr marL="118499" indent="-110761" defTabSz="586380">
              <a:spcBef>
                <a:spcPts val="77"/>
              </a:spcBef>
              <a:buSzPct val="177777"/>
              <a:buFontTx/>
              <a:buChar char="•"/>
              <a:tabLst>
                <a:tab pos="118904" algn="l"/>
              </a:tabLst>
            </a:pPr>
            <a:r>
              <a:rPr sz="1000" dirty="0">
                <a:solidFill>
                  <a:srgbClr val="5E514D"/>
                </a:solidFill>
                <a:latin typeface="Arial"/>
                <a:cs typeface="Arial"/>
              </a:rPr>
              <a:t>Contribuer à la </a:t>
            </a:r>
            <a:r>
              <a:rPr sz="1000" b="1" dirty="0">
                <a:solidFill>
                  <a:srgbClr val="5E514D"/>
                </a:solidFill>
                <a:latin typeface="Arial"/>
                <a:cs typeface="Arial"/>
              </a:rPr>
              <a:t>politique</a:t>
            </a:r>
            <a:r>
              <a:rPr sz="1000" b="1" spc="-38" dirty="0">
                <a:solidFill>
                  <a:srgbClr val="5E514D"/>
                </a:solidFill>
                <a:latin typeface="Arial"/>
                <a:cs typeface="Arial"/>
              </a:rPr>
              <a:t> </a:t>
            </a:r>
            <a:r>
              <a:rPr sz="1000" b="1" spc="-3" dirty="0">
                <a:solidFill>
                  <a:srgbClr val="5E514D"/>
                </a:solidFill>
                <a:latin typeface="Arial"/>
                <a:cs typeface="Arial"/>
              </a:rPr>
              <a:t>RSE</a:t>
            </a:r>
            <a:r>
              <a:rPr sz="1000" spc="-3" dirty="0">
                <a:solidFill>
                  <a:srgbClr val="5E514D"/>
                </a:solidFill>
                <a:latin typeface="Arial"/>
                <a:cs typeface="Arial"/>
              </a:rPr>
              <a:t>.</a:t>
            </a:r>
            <a:endParaRPr sz="1000" dirty="0">
              <a:solidFill>
                <a:srgbClr val="5E514D"/>
              </a:solidFill>
              <a:latin typeface="Arial"/>
              <a:cs typeface="Arial"/>
            </a:endParaRPr>
          </a:p>
        </p:txBody>
      </p:sp>
      <p:grpSp>
        <p:nvGrpSpPr>
          <p:cNvPr id="12" name="object 75">
            <a:extLst>
              <a:ext uri="{FF2B5EF4-FFF2-40B4-BE49-F238E27FC236}">
                <a16:creationId xmlns:a16="http://schemas.microsoft.com/office/drawing/2014/main" id="{E829352D-1817-8039-297E-95C929F997B2}"/>
              </a:ext>
            </a:extLst>
          </p:cNvPr>
          <p:cNvGrpSpPr/>
          <p:nvPr/>
        </p:nvGrpSpPr>
        <p:grpSpPr>
          <a:xfrm>
            <a:off x="366499" y="275085"/>
            <a:ext cx="368733" cy="317123"/>
            <a:chOff x="211836" y="5969507"/>
            <a:chExt cx="253365" cy="251460"/>
          </a:xfrm>
        </p:grpSpPr>
        <p:sp>
          <p:nvSpPr>
            <p:cNvPr id="13" name="object 78">
              <a:extLst>
                <a:ext uri="{FF2B5EF4-FFF2-40B4-BE49-F238E27FC236}">
                  <a16:creationId xmlns:a16="http://schemas.microsoft.com/office/drawing/2014/main" id="{72BC9E22-8C3A-BA91-FB13-F727ADF4DEDC}"/>
                </a:ext>
              </a:extLst>
            </p:cNvPr>
            <p:cNvSpPr/>
            <p:nvPr/>
          </p:nvSpPr>
          <p:spPr>
            <a:xfrm>
              <a:off x="263185" y="6019314"/>
              <a:ext cx="82386" cy="138112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defTabSz="586380"/>
              <a:endParaRPr sz="16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4" name="object 79">
              <a:extLst>
                <a:ext uri="{FF2B5EF4-FFF2-40B4-BE49-F238E27FC236}">
                  <a16:creationId xmlns:a16="http://schemas.microsoft.com/office/drawing/2014/main" id="{66D5F2B0-9D22-DECD-3F1D-46A721C00D50}"/>
                </a:ext>
              </a:extLst>
            </p:cNvPr>
            <p:cNvSpPr/>
            <p:nvPr/>
          </p:nvSpPr>
          <p:spPr>
            <a:xfrm>
              <a:off x="211836" y="5969507"/>
              <a:ext cx="253365" cy="251460"/>
            </a:xfrm>
            <a:custGeom>
              <a:avLst/>
              <a:gdLst/>
              <a:ahLst/>
              <a:cxnLst/>
              <a:rect l="l" t="t" r="r" b="b"/>
              <a:pathLst>
                <a:path w="253365" h="251460">
                  <a:moveTo>
                    <a:pt x="0" y="125729"/>
                  </a:moveTo>
                  <a:lnTo>
                    <a:pt x="9939" y="76777"/>
                  </a:lnTo>
                  <a:lnTo>
                    <a:pt x="37047" y="36814"/>
                  </a:lnTo>
                  <a:lnTo>
                    <a:pt x="77254" y="9876"/>
                  </a:lnTo>
                  <a:lnTo>
                    <a:pt x="126492" y="0"/>
                  </a:lnTo>
                  <a:lnTo>
                    <a:pt x="175729" y="9876"/>
                  </a:lnTo>
                  <a:lnTo>
                    <a:pt x="215936" y="36814"/>
                  </a:lnTo>
                  <a:lnTo>
                    <a:pt x="243044" y="76777"/>
                  </a:lnTo>
                  <a:lnTo>
                    <a:pt x="252984" y="125729"/>
                  </a:lnTo>
                  <a:lnTo>
                    <a:pt x="243044" y="174682"/>
                  </a:lnTo>
                  <a:lnTo>
                    <a:pt x="215936" y="214645"/>
                  </a:lnTo>
                  <a:lnTo>
                    <a:pt x="175729" y="241583"/>
                  </a:lnTo>
                  <a:lnTo>
                    <a:pt x="126492" y="251460"/>
                  </a:lnTo>
                  <a:lnTo>
                    <a:pt x="77254" y="241583"/>
                  </a:lnTo>
                  <a:lnTo>
                    <a:pt x="37047" y="214645"/>
                  </a:lnTo>
                  <a:lnTo>
                    <a:pt x="9939" y="174682"/>
                  </a:lnTo>
                  <a:lnTo>
                    <a:pt x="0" y="125729"/>
                  </a:lnTo>
                  <a:close/>
                </a:path>
              </a:pathLst>
            </a:custGeom>
            <a:ln w="9524">
              <a:solidFill>
                <a:srgbClr val="FFCD00"/>
              </a:solidFill>
            </a:ln>
          </p:spPr>
          <p:txBody>
            <a:bodyPr wrap="square" lIns="0" tIns="0" rIns="0" bIns="0" rtlCol="0"/>
            <a:lstStyle/>
            <a:p>
              <a:pPr defTabSz="586380"/>
              <a:endParaRPr sz="160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15" name="object 80">
            <a:extLst>
              <a:ext uri="{FF2B5EF4-FFF2-40B4-BE49-F238E27FC236}">
                <a16:creationId xmlns:a16="http://schemas.microsoft.com/office/drawing/2014/main" id="{E2F7C2D9-93E4-EE01-1D96-13EE27C3DE6D}"/>
              </a:ext>
            </a:extLst>
          </p:cNvPr>
          <p:cNvSpPr txBox="1"/>
          <p:nvPr/>
        </p:nvSpPr>
        <p:spPr>
          <a:xfrm>
            <a:off x="886503" y="403215"/>
            <a:ext cx="2065441" cy="223257"/>
          </a:xfrm>
          <a:prstGeom prst="rect">
            <a:avLst/>
          </a:prstGeom>
        </p:spPr>
        <p:txBody>
          <a:bodyPr vert="horz" wrap="square" lIns="0" tIns="7738" rIns="0" bIns="0" rtlCol="0">
            <a:spAutoFit/>
          </a:bodyPr>
          <a:lstStyle/>
          <a:p>
            <a:pPr marL="8145" defTabSz="586380">
              <a:spcBef>
                <a:spcPts val="61"/>
              </a:spcBef>
            </a:pPr>
            <a:r>
              <a:rPr sz="1400" spc="-3" dirty="0">
                <a:solidFill>
                  <a:srgbClr val="574641"/>
                </a:solidFill>
                <a:latin typeface="Impact"/>
                <a:cs typeface="Impact"/>
              </a:rPr>
              <a:t>ACHETEURS</a:t>
            </a:r>
            <a:r>
              <a:rPr sz="1400" spc="-19" dirty="0">
                <a:solidFill>
                  <a:srgbClr val="574641"/>
                </a:solidFill>
                <a:latin typeface="Impact"/>
                <a:cs typeface="Impact"/>
              </a:rPr>
              <a:t> </a:t>
            </a:r>
            <a:r>
              <a:rPr sz="1400" spc="-6" dirty="0">
                <a:solidFill>
                  <a:srgbClr val="574641"/>
                </a:solidFill>
                <a:latin typeface="Impact"/>
                <a:cs typeface="Impact"/>
              </a:rPr>
              <a:t>ÉLIGIBLES</a:t>
            </a:r>
            <a:endParaRPr sz="1400" dirty="0">
              <a:solidFill>
                <a:prstClr val="black"/>
              </a:solidFill>
              <a:latin typeface="Impact"/>
              <a:cs typeface="Impact"/>
            </a:endParaRPr>
          </a:p>
        </p:txBody>
      </p:sp>
      <p:sp>
        <p:nvSpPr>
          <p:cNvPr id="16" name="object 89">
            <a:extLst>
              <a:ext uri="{FF2B5EF4-FFF2-40B4-BE49-F238E27FC236}">
                <a16:creationId xmlns:a16="http://schemas.microsoft.com/office/drawing/2014/main" id="{38440BD6-2EB2-4C38-C4AA-EAC51895BA69}"/>
              </a:ext>
            </a:extLst>
          </p:cNvPr>
          <p:cNvSpPr txBox="1"/>
          <p:nvPr/>
        </p:nvSpPr>
        <p:spPr>
          <a:xfrm>
            <a:off x="5405857" y="221061"/>
            <a:ext cx="4168250" cy="290633"/>
          </a:xfrm>
          <a:prstGeom prst="rect">
            <a:avLst/>
          </a:prstGeom>
        </p:spPr>
        <p:txBody>
          <a:bodyPr vert="horz" wrap="square" lIns="0" tIns="43982" rIns="0" bIns="0" rtlCol="0">
            <a:spAutoFit/>
          </a:bodyPr>
          <a:lstStyle/>
          <a:p>
            <a:pPr marL="33799" defTabSz="586380">
              <a:spcBef>
                <a:spcPts val="407"/>
              </a:spcBef>
            </a:pPr>
            <a:r>
              <a:rPr lang="fr-FR" sz="1600" spc="-6" dirty="0">
                <a:solidFill>
                  <a:srgbClr val="574641"/>
                </a:solidFill>
                <a:latin typeface="Impact"/>
                <a:cs typeface="Impact"/>
              </a:rPr>
              <a:t>C</a:t>
            </a:r>
            <a:r>
              <a:rPr sz="1600" spc="-6" dirty="0">
                <a:solidFill>
                  <a:srgbClr val="574641"/>
                </a:solidFill>
                <a:latin typeface="Impact"/>
                <a:cs typeface="Impact"/>
              </a:rPr>
              <a:t>ONDITIONS</a:t>
            </a:r>
            <a:r>
              <a:rPr sz="1600" spc="29" dirty="0">
                <a:solidFill>
                  <a:srgbClr val="574641"/>
                </a:solidFill>
                <a:latin typeface="Impact"/>
                <a:cs typeface="Impact"/>
              </a:rPr>
              <a:t> </a:t>
            </a:r>
            <a:r>
              <a:rPr sz="1600" spc="-6" dirty="0">
                <a:solidFill>
                  <a:srgbClr val="574641"/>
                </a:solidFill>
                <a:latin typeface="Impact"/>
                <a:cs typeface="Impact"/>
              </a:rPr>
              <a:t>FINANCIÈRES</a:t>
            </a:r>
            <a:endParaRPr sz="1600" dirty="0">
              <a:solidFill>
                <a:prstClr val="black"/>
              </a:solidFill>
              <a:latin typeface="Impact"/>
              <a:cs typeface="Impact"/>
            </a:endParaRPr>
          </a:p>
        </p:txBody>
      </p:sp>
      <p:sp>
        <p:nvSpPr>
          <p:cNvPr id="17" name="object 90">
            <a:extLst>
              <a:ext uri="{FF2B5EF4-FFF2-40B4-BE49-F238E27FC236}">
                <a16:creationId xmlns:a16="http://schemas.microsoft.com/office/drawing/2014/main" id="{8031E3EE-D86B-5446-5871-3884E9BA3D05}"/>
              </a:ext>
            </a:extLst>
          </p:cNvPr>
          <p:cNvSpPr txBox="1"/>
          <p:nvPr/>
        </p:nvSpPr>
        <p:spPr>
          <a:xfrm>
            <a:off x="5961079" y="4545639"/>
            <a:ext cx="3750430" cy="308163"/>
          </a:xfrm>
          <a:prstGeom prst="rect">
            <a:avLst/>
          </a:prstGeom>
        </p:spPr>
        <p:txBody>
          <a:bodyPr vert="horz" wrap="square" lIns="0" tIns="6923" rIns="0" bIns="0" rtlCol="0">
            <a:spAutoFit/>
          </a:bodyPr>
          <a:lstStyle/>
          <a:p>
            <a:pPr marL="118499" marR="3259" indent="-110761" defTabSz="586380">
              <a:lnSpc>
                <a:spcPct val="101099"/>
              </a:lnSpc>
              <a:spcBef>
                <a:spcPts val="55"/>
              </a:spcBef>
              <a:buSzPct val="177777"/>
              <a:buFont typeface="Arial"/>
              <a:buChar char="•"/>
              <a:tabLst>
                <a:tab pos="118904" algn="l"/>
              </a:tabLst>
            </a:pPr>
            <a:r>
              <a:rPr sz="1000" b="1" spc="-3" dirty="0">
                <a:solidFill>
                  <a:srgbClr val="5E514D"/>
                </a:solidFill>
                <a:latin typeface="Arial"/>
                <a:cs typeface="Arial"/>
              </a:rPr>
              <a:t>Sécuriser </a:t>
            </a:r>
            <a:r>
              <a:rPr sz="1000" b="1" dirty="0">
                <a:solidFill>
                  <a:srgbClr val="5E514D"/>
                </a:solidFill>
                <a:latin typeface="Arial"/>
                <a:cs typeface="Arial"/>
              </a:rPr>
              <a:t>un </a:t>
            </a:r>
            <a:r>
              <a:rPr sz="1000" b="1" spc="-3" dirty="0">
                <a:solidFill>
                  <a:srgbClr val="5E514D"/>
                </a:solidFill>
                <a:latin typeface="Arial"/>
                <a:cs typeface="Arial"/>
              </a:rPr>
              <a:t>financement </a:t>
            </a:r>
            <a:r>
              <a:rPr sz="1000" b="1" dirty="0">
                <a:solidFill>
                  <a:srgbClr val="5E514D"/>
                </a:solidFill>
                <a:latin typeface="Arial"/>
                <a:cs typeface="Arial"/>
              </a:rPr>
              <a:t>des </a:t>
            </a:r>
            <a:r>
              <a:rPr sz="1000" b="1" spc="-3" dirty="0">
                <a:solidFill>
                  <a:srgbClr val="5E514D"/>
                </a:solidFill>
                <a:latin typeface="Arial"/>
                <a:cs typeface="Arial"/>
              </a:rPr>
              <a:t>actifs </a:t>
            </a:r>
            <a:r>
              <a:rPr sz="1000" spc="-3" dirty="0">
                <a:solidFill>
                  <a:srgbClr val="5E514D"/>
                </a:solidFill>
                <a:latin typeface="Arial"/>
                <a:cs typeface="Arial"/>
              </a:rPr>
              <a:t>avec un large  </a:t>
            </a:r>
            <a:r>
              <a:rPr sz="1000" dirty="0">
                <a:solidFill>
                  <a:srgbClr val="5E514D"/>
                </a:solidFill>
                <a:latin typeface="Arial"/>
                <a:cs typeface="Arial"/>
              </a:rPr>
              <a:t>spectre d’acheteurs</a:t>
            </a:r>
            <a:r>
              <a:rPr sz="1000" spc="-35" dirty="0">
                <a:solidFill>
                  <a:srgbClr val="5E514D"/>
                </a:solidFill>
                <a:latin typeface="Arial"/>
                <a:cs typeface="Arial"/>
              </a:rPr>
              <a:t> </a:t>
            </a:r>
            <a:r>
              <a:rPr sz="1000" dirty="0">
                <a:solidFill>
                  <a:srgbClr val="5E514D"/>
                </a:solidFill>
                <a:latin typeface="Arial"/>
                <a:cs typeface="Arial"/>
              </a:rPr>
              <a:t>possibles.</a:t>
            </a:r>
          </a:p>
        </p:txBody>
      </p:sp>
      <p:sp>
        <p:nvSpPr>
          <p:cNvPr id="18" name="object 87">
            <a:extLst>
              <a:ext uri="{FF2B5EF4-FFF2-40B4-BE49-F238E27FC236}">
                <a16:creationId xmlns:a16="http://schemas.microsoft.com/office/drawing/2014/main" id="{13982BA9-E4EC-4D87-4BCE-952A416D91E3}"/>
              </a:ext>
            </a:extLst>
          </p:cNvPr>
          <p:cNvSpPr/>
          <p:nvPr/>
        </p:nvSpPr>
        <p:spPr>
          <a:xfrm>
            <a:off x="4424905" y="228065"/>
            <a:ext cx="395889" cy="38527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586380"/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19" name="object 88">
            <a:extLst>
              <a:ext uri="{FF2B5EF4-FFF2-40B4-BE49-F238E27FC236}">
                <a16:creationId xmlns:a16="http://schemas.microsoft.com/office/drawing/2014/main" id="{4BC90150-B214-8CE0-2640-3F85A9C02CDE}"/>
              </a:ext>
            </a:extLst>
          </p:cNvPr>
          <p:cNvSpPr/>
          <p:nvPr/>
        </p:nvSpPr>
        <p:spPr>
          <a:xfrm>
            <a:off x="4347639" y="175610"/>
            <a:ext cx="515225" cy="499957"/>
          </a:xfrm>
          <a:custGeom>
            <a:avLst/>
            <a:gdLst/>
            <a:ahLst/>
            <a:cxnLst/>
            <a:rect l="l" t="t" r="r" b="b"/>
            <a:pathLst>
              <a:path w="253364" h="253364">
                <a:moveTo>
                  <a:pt x="0" y="126491"/>
                </a:moveTo>
                <a:lnTo>
                  <a:pt x="9941" y="77259"/>
                </a:lnTo>
                <a:lnTo>
                  <a:pt x="37052" y="37052"/>
                </a:lnTo>
                <a:lnTo>
                  <a:pt x="77259" y="9941"/>
                </a:lnTo>
                <a:lnTo>
                  <a:pt x="126491" y="0"/>
                </a:lnTo>
                <a:lnTo>
                  <a:pt x="175724" y="9941"/>
                </a:lnTo>
                <a:lnTo>
                  <a:pt x="215931" y="37052"/>
                </a:lnTo>
                <a:lnTo>
                  <a:pt x="243042" y="77259"/>
                </a:lnTo>
                <a:lnTo>
                  <a:pt x="252983" y="126491"/>
                </a:lnTo>
                <a:lnTo>
                  <a:pt x="243042" y="175724"/>
                </a:lnTo>
                <a:lnTo>
                  <a:pt x="215931" y="215931"/>
                </a:lnTo>
                <a:lnTo>
                  <a:pt x="175724" y="243042"/>
                </a:lnTo>
                <a:lnTo>
                  <a:pt x="126491" y="252984"/>
                </a:lnTo>
                <a:lnTo>
                  <a:pt x="77259" y="243042"/>
                </a:lnTo>
                <a:lnTo>
                  <a:pt x="37052" y="215931"/>
                </a:lnTo>
                <a:lnTo>
                  <a:pt x="9941" y="175724"/>
                </a:lnTo>
                <a:lnTo>
                  <a:pt x="0" y="126491"/>
                </a:lnTo>
                <a:close/>
              </a:path>
            </a:pathLst>
          </a:custGeom>
          <a:ln w="9525">
            <a:solidFill>
              <a:srgbClr val="FFCD00"/>
            </a:solidFill>
          </a:ln>
        </p:spPr>
        <p:txBody>
          <a:bodyPr wrap="square" lIns="0" tIns="0" rIns="0" bIns="0" rtlCol="0"/>
          <a:lstStyle/>
          <a:p>
            <a:pPr defTabSz="586380"/>
            <a:endParaRPr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20" name="Graphique 19" descr="Ajouter avec un remplissage uni">
            <a:extLst>
              <a:ext uri="{FF2B5EF4-FFF2-40B4-BE49-F238E27FC236}">
                <a16:creationId xmlns:a16="http://schemas.microsoft.com/office/drawing/2014/main" id="{000E21D8-4DF2-4CC7-7C1C-458FC7F152F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3616" y="3428175"/>
            <a:ext cx="270724" cy="270724"/>
          </a:xfrm>
          <a:prstGeom prst="rect">
            <a:avLst/>
          </a:prstGeom>
        </p:spPr>
      </p:pic>
      <p:sp>
        <p:nvSpPr>
          <p:cNvPr id="21" name="object 88">
            <a:extLst>
              <a:ext uri="{FF2B5EF4-FFF2-40B4-BE49-F238E27FC236}">
                <a16:creationId xmlns:a16="http://schemas.microsoft.com/office/drawing/2014/main" id="{CD14DEF9-7780-DB69-EA92-41C33FD34474}"/>
              </a:ext>
            </a:extLst>
          </p:cNvPr>
          <p:cNvSpPr/>
          <p:nvPr/>
        </p:nvSpPr>
        <p:spPr>
          <a:xfrm>
            <a:off x="139934" y="3344013"/>
            <a:ext cx="421195" cy="427774"/>
          </a:xfrm>
          <a:custGeom>
            <a:avLst/>
            <a:gdLst/>
            <a:ahLst/>
            <a:cxnLst/>
            <a:rect l="l" t="t" r="r" b="b"/>
            <a:pathLst>
              <a:path w="253364" h="253364">
                <a:moveTo>
                  <a:pt x="0" y="126491"/>
                </a:moveTo>
                <a:lnTo>
                  <a:pt x="9941" y="77259"/>
                </a:lnTo>
                <a:lnTo>
                  <a:pt x="37052" y="37052"/>
                </a:lnTo>
                <a:lnTo>
                  <a:pt x="77259" y="9941"/>
                </a:lnTo>
                <a:lnTo>
                  <a:pt x="126491" y="0"/>
                </a:lnTo>
                <a:lnTo>
                  <a:pt x="175724" y="9941"/>
                </a:lnTo>
                <a:lnTo>
                  <a:pt x="215931" y="37052"/>
                </a:lnTo>
                <a:lnTo>
                  <a:pt x="243042" y="77259"/>
                </a:lnTo>
                <a:lnTo>
                  <a:pt x="252983" y="126491"/>
                </a:lnTo>
                <a:lnTo>
                  <a:pt x="243042" y="175724"/>
                </a:lnTo>
                <a:lnTo>
                  <a:pt x="215931" y="215931"/>
                </a:lnTo>
                <a:lnTo>
                  <a:pt x="175724" y="243042"/>
                </a:lnTo>
                <a:lnTo>
                  <a:pt x="126491" y="252984"/>
                </a:lnTo>
                <a:lnTo>
                  <a:pt x="77259" y="243042"/>
                </a:lnTo>
                <a:lnTo>
                  <a:pt x="37052" y="215931"/>
                </a:lnTo>
                <a:lnTo>
                  <a:pt x="9941" y="175724"/>
                </a:lnTo>
                <a:lnTo>
                  <a:pt x="0" y="126491"/>
                </a:lnTo>
                <a:close/>
              </a:path>
            </a:pathLst>
          </a:custGeom>
          <a:ln w="9525">
            <a:solidFill>
              <a:srgbClr val="FFCD00"/>
            </a:solidFill>
          </a:ln>
        </p:spPr>
        <p:txBody>
          <a:bodyPr wrap="square" lIns="0" tIns="0" rIns="0" bIns="0" rtlCol="0"/>
          <a:lstStyle/>
          <a:p>
            <a:pPr defTabSz="586380"/>
            <a:endParaRPr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037645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740134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pifrance_masquePPT[1]">
  <a:themeElements>
    <a:clrScheme name="Personnalisée 18">
      <a:dk1>
        <a:srgbClr val="000000"/>
      </a:dk1>
      <a:lt1>
        <a:srgbClr val="FFFFFF"/>
      </a:lt1>
      <a:dk2>
        <a:srgbClr val="5E514D"/>
      </a:dk2>
      <a:lt2>
        <a:srgbClr val="FFCD00"/>
      </a:lt2>
      <a:accent1>
        <a:srgbClr val="786E64"/>
      </a:accent1>
      <a:accent2>
        <a:srgbClr val="00A3E0"/>
      </a:accent2>
      <a:accent3>
        <a:srgbClr val="C83764"/>
      </a:accent3>
      <a:accent4>
        <a:srgbClr val="00B388"/>
      </a:accent4>
      <a:accent5>
        <a:srgbClr val="EB7800"/>
      </a:accent5>
      <a:accent6>
        <a:srgbClr val="00789A"/>
      </a:accent6>
      <a:hlink>
        <a:srgbClr val="000000"/>
      </a:hlink>
      <a:folHlink>
        <a:srgbClr val="000000"/>
      </a:folHlink>
    </a:clrScheme>
    <a:fontScheme name="BPI PPT Arial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��< ? x m l   v e r s i o n = " 1 . 0 "   e n c o d i n g = " u t f - 1 6 " ? > < I d W r a p p e r   x m l n s : x s i = " h t t p : / / w w w . w 3 . o r g / 2 0 0 1 / X M L S c h e m a - i n s t a n c e "   x m l n s : x s d = " h t t p : / / w w w . w 3 . o r g / 2 0 0 1 / X M L S c h e m a "   x m l n s = " p b - w r a p p e r " >  
     < I d > 5 2 a 1 c 6 2 d - e 3 9 e - 4 8 e a - 9 0 6 b - a 3 e 4 0 0 d b e 5 e 1 < / I d >  
 < / I d W r a p p e r > 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b240a03b-420c-43db-95fb-3c067197732d" xsi:nil="true"/>
    <lcf76f155ced4ddcb4097134ff3c332f xmlns="346b4893-1983-436d-aad2-7bef097cf780">
      <Terms xmlns="http://schemas.microsoft.com/office/infopath/2007/PartnerControls"/>
    </lcf76f155ced4ddcb4097134ff3c332f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AE66414F4D585419E1D585AD6741285" ma:contentTypeVersion="17" ma:contentTypeDescription="Crée un document." ma:contentTypeScope="" ma:versionID="7b75bf2dc3c98ab097aa55f691916884">
  <xsd:schema xmlns:xsd="http://www.w3.org/2001/XMLSchema" xmlns:xs="http://www.w3.org/2001/XMLSchema" xmlns:p="http://schemas.microsoft.com/office/2006/metadata/properties" xmlns:ns2="346b4893-1983-436d-aad2-7bef097cf780" xmlns:ns3="b240a03b-420c-43db-95fb-3c067197732d" targetNamespace="http://schemas.microsoft.com/office/2006/metadata/properties" ma:root="true" ma:fieldsID="d15e035051f98410e4ff54ea5f9f70a7" ns2:_="" ns3:_="">
    <xsd:import namespace="346b4893-1983-436d-aad2-7bef097cf780"/>
    <xsd:import namespace="b240a03b-420c-43db-95fb-3c067197732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46b4893-1983-436d-aad2-7bef097cf78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alises d’images" ma:readOnly="false" ma:fieldId="{5cf76f15-5ced-4ddc-b409-7134ff3c332f}" ma:taxonomyMulti="true" ma:sspId="f5bfe009-0698-4f0a-aaca-d9746fe593d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240a03b-420c-43db-95fb-3c067197732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05b13ca6-9317-4126-b931-cd845603676d}" ma:internalName="TaxCatchAll" ma:showField="CatchAllData" ma:web="b240a03b-420c-43db-95fb-3c067197732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E187B3F-83D3-4E28-AEA8-51AEA568BE1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C2D0BBE-3552-4EB5-B1F3-994B06EDDFCB}">
  <ds:schemaRefs>
    <ds:schemaRef ds:uri="http://www.w3.org/2001/XMLSchema"/>
    <ds:schemaRef ds:uri="pb-wrapper"/>
  </ds:schemaRefs>
</ds:datastoreItem>
</file>

<file path=customXml/itemProps3.xml><?xml version="1.0" encoding="utf-8"?>
<ds:datastoreItem xmlns:ds="http://schemas.openxmlformats.org/officeDocument/2006/customXml" ds:itemID="{85F45852-6D00-42A5-8E17-2E49B5558852}">
  <ds:schemaRefs>
    <ds:schemaRef ds:uri="4adb1301-2bf4-4927-9263-41ba1cd618f0"/>
    <ds:schemaRef ds:uri="5411c191-2c3c-4cfb-af2b-1619e73f8996"/>
    <ds:schemaRef ds:uri="9c66bfc4-362e-4a11-9878-9943ffeada6e"/>
    <ds:schemaRef ds:uri="9cf12de6-8dee-4c65-b684-84186ba6b63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b240a03b-420c-43db-95fb-3c067197732d"/>
    <ds:schemaRef ds:uri="346b4893-1983-436d-aad2-7bef097cf780"/>
  </ds:schemaRefs>
</ds:datastoreItem>
</file>

<file path=customXml/itemProps4.xml><?xml version="1.0" encoding="utf-8"?>
<ds:datastoreItem xmlns:ds="http://schemas.openxmlformats.org/officeDocument/2006/customXml" ds:itemID="{A04FFD36-8D3B-475A-9D56-B13D9032774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46b4893-1983-436d-aad2-7bef097cf780"/>
    <ds:schemaRef ds:uri="b240a03b-420c-43db-95fb-3c067197732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pifrance_masquePPT[1]</Template>
  <TotalTime>67</TotalTime>
  <Words>939</Words>
  <Application>Microsoft Office PowerPoint</Application>
  <PresentationFormat>Format A4 (210 x 297 mm)</PresentationFormat>
  <Paragraphs>92</Paragraphs>
  <Slides>6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6</vt:i4>
      </vt:variant>
    </vt:vector>
  </HeadingPairs>
  <TitlesOfParts>
    <vt:vector size="13" baseType="lpstr">
      <vt:lpstr>Arial</vt:lpstr>
      <vt:lpstr>Calibri</vt:lpstr>
      <vt:lpstr>Impact</vt:lpstr>
      <vt:lpstr>Lucida Grande</vt:lpstr>
      <vt:lpstr>Wingdings</vt:lpstr>
      <vt:lpstr>bpifrance_masquePPT[1]</vt:lpstr>
      <vt:lpstr>Diapositive think-cell</vt:lpstr>
      <vt:lpstr>Présentation PowerPoint</vt:lpstr>
      <vt:lpstr>Le plan climat de Bpifrance vise 3 objectifs centraux, avec 7 chantiers transverses en appui</vt:lpstr>
      <vt:lpstr>Présentation PowerPoint</vt:lpstr>
      <vt:lpstr>Présentation PowerPoint</vt:lpstr>
      <vt:lpstr>Présentation PowerPoint</vt:lpstr>
      <vt:lpstr>Présentation PowerPoint</vt:lpstr>
    </vt:vector>
  </TitlesOfParts>
  <Company>OSE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re  de la présentation sur 4 lignes maximum</dc:title>
  <dc:subject>BPI</dc:subject>
  <dc:creator>Corinne DUSSAUCY</dc:creator>
  <cp:lastModifiedBy>Virginie PONCET</cp:lastModifiedBy>
  <cp:revision>387</cp:revision>
  <cp:lastPrinted>2018-04-19T06:59:56Z</cp:lastPrinted>
  <dcterms:created xsi:type="dcterms:W3CDTF">2013-06-11T14:50:45Z</dcterms:created>
  <dcterms:modified xsi:type="dcterms:W3CDTF">2023-10-20T07:49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02F0964873788438F3DD3391062AFF8</vt:lpwstr>
  </property>
  <property fmtid="{D5CDD505-2E9C-101B-9397-08002B2CF9AE}" pid="3" name="MediaServiceImageTags">
    <vt:lpwstr/>
  </property>
  <property fmtid="{D5CDD505-2E9C-101B-9397-08002B2CF9AE}" pid="4" name="MSIP_Label_26615553-48f4-466c-a66f-a3bb9a6459c5_Enabled">
    <vt:lpwstr>true</vt:lpwstr>
  </property>
  <property fmtid="{D5CDD505-2E9C-101B-9397-08002B2CF9AE}" pid="5" name="MSIP_Label_26615553-48f4-466c-a66f-a3bb9a6459c5_SetDate">
    <vt:lpwstr>2022-09-27T12:34:48Z</vt:lpwstr>
  </property>
  <property fmtid="{D5CDD505-2E9C-101B-9397-08002B2CF9AE}" pid="6" name="MSIP_Label_26615553-48f4-466c-a66f-a3bb9a6459c5_Method">
    <vt:lpwstr>Standard</vt:lpwstr>
  </property>
  <property fmtid="{D5CDD505-2E9C-101B-9397-08002B2CF9AE}" pid="7" name="MSIP_Label_26615553-48f4-466c-a66f-a3bb9a6459c5_Name">
    <vt:lpwstr>C1 - Interne</vt:lpwstr>
  </property>
  <property fmtid="{D5CDD505-2E9C-101B-9397-08002B2CF9AE}" pid="8" name="MSIP_Label_26615553-48f4-466c-a66f-a3bb9a6459c5_SiteId">
    <vt:lpwstr>1fbeb981-82a8-4cd1-8a51-a83806530676</vt:lpwstr>
  </property>
  <property fmtid="{D5CDD505-2E9C-101B-9397-08002B2CF9AE}" pid="9" name="MSIP_Label_26615553-48f4-466c-a66f-a3bb9a6459c5_ActionId">
    <vt:lpwstr>fc16e9d4-8bd2-43ac-bb5a-08c647ac59d0</vt:lpwstr>
  </property>
  <property fmtid="{D5CDD505-2E9C-101B-9397-08002B2CF9AE}" pid="10" name="MSIP_Label_26615553-48f4-466c-a66f-a3bb9a6459c5_ContentBits">
    <vt:lpwstr>0</vt:lpwstr>
  </property>
</Properties>
</file>